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notesMasterIdLst>
    <p:notesMasterId r:id="rId13"/>
  </p:notesMasterIdLst>
  <p:handoutMasterIdLst>
    <p:handoutMasterId r:id="rId14"/>
  </p:handoutMasterIdLst>
  <p:sldIdLst>
    <p:sldId id="305" r:id="rId2"/>
    <p:sldId id="304" r:id="rId3"/>
    <p:sldId id="308" r:id="rId4"/>
    <p:sldId id="310" r:id="rId5"/>
    <p:sldId id="311" r:id="rId6"/>
    <p:sldId id="307" r:id="rId7"/>
    <p:sldId id="290" r:id="rId8"/>
    <p:sldId id="314" r:id="rId9"/>
    <p:sldId id="312" r:id="rId10"/>
    <p:sldId id="313" r:id="rId11"/>
    <p:sldId id="300" r:id="rId12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5427"/>
    <a:srgbClr val="0099CC"/>
    <a:srgbClr val="FB9205"/>
    <a:srgbClr val="336699"/>
    <a:srgbClr val="CCECFF"/>
    <a:srgbClr val="F3F3F3"/>
    <a:srgbClr val="FFFFFF"/>
    <a:srgbClr val="66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51" autoAdjust="0"/>
    <p:restoredTop sz="95757" autoAdjust="0"/>
  </p:normalViewPr>
  <p:slideViewPr>
    <p:cSldViewPr>
      <p:cViewPr>
        <p:scale>
          <a:sx n="75" d="100"/>
          <a:sy n="75" d="100"/>
        </p:scale>
        <p:origin x="-1200" y="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-3330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46;&#1076;&#1072;&#1085;&#1086;&#1074;\&#1050;&#1069;&#1057;\&#1043;&#1077;&#1085;&#1077;&#1088;&#1072;&#1094;&#1080;&#1103;%20+\&#1040;&#1050;\&#1057;&#1086;&#1075;&#1083;&#1072;&#1096;&#1077;&#1085;&#1080;&#1077;\&#1048;&#1058;&#1055;\ENES%202016\&#1051;&#1080;&#1089;&#1090;%20Microsoft%20Excel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46360959223497056"/>
          <c:y val="7.1857630333898803E-2"/>
          <c:w val="0.44160007850441035"/>
          <c:h val="0.8562847393322023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bg2">
                <a:lumMod val="50000"/>
              </a:schemeClr>
            </a:solidFill>
          </c:spPr>
          <c:invertIfNegative val="0"/>
          <c:dLbls>
            <c:numFmt formatCode="#,##0.0" sourceLinked="0"/>
            <c:txPr>
              <a:bodyPr/>
              <a:lstStyle/>
              <a:p>
                <a:pPr>
                  <a:defRPr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D$6:$D$19</c:f>
              <c:strCache>
                <c:ptCount val="14"/>
                <c:pt idx="0">
                  <c:v>Инта</c:v>
                </c:pt>
                <c:pt idx="1">
                  <c:v>Новочебоксарск</c:v>
                </c:pt>
                <c:pt idx="2">
                  <c:v>Кирово-Чепецк</c:v>
                </c:pt>
                <c:pt idx="3">
                  <c:v>Йошкар-Ола</c:v>
                </c:pt>
                <c:pt idx="4">
                  <c:v>Воркута</c:v>
                </c:pt>
                <c:pt idx="5">
                  <c:v>Новокуйбышевск</c:v>
                </c:pt>
                <c:pt idx="6">
                  <c:v>Чебоксары</c:v>
                </c:pt>
                <c:pt idx="7">
                  <c:v>Сыктывкар</c:v>
                </c:pt>
                <c:pt idx="8">
                  <c:v>Ульяновск</c:v>
                </c:pt>
                <c:pt idx="9">
                  <c:v>Тольятти</c:v>
                </c:pt>
                <c:pt idx="10">
                  <c:v>Саратов</c:v>
                </c:pt>
                <c:pt idx="11">
                  <c:v>Самара</c:v>
                </c:pt>
                <c:pt idx="12">
                  <c:v>Екатеринбург</c:v>
                </c:pt>
                <c:pt idx="13">
                  <c:v>Нижний Новгород</c:v>
                </c:pt>
              </c:strCache>
            </c:strRef>
          </c:cat>
          <c:val>
            <c:numRef>
              <c:f>Лист2!$E$6:$E$19</c:f>
              <c:numCache>
                <c:formatCode>0.00</c:formatCode>
                <c:ptCount val="14"/>
                <c:pt idx="0">
                  <c:v>0.71399999999999997</c:v>
                </c:pt>
                <c:pt idx="1">
                  <c:v>1.5979999999999999</c:v>
                </c:pt>
                <c:pt idx="2">
                  <c:v>1.819</c:v>
                </c:pt>
                <c:pt idx="3">
                  <c:v>1.853</c:v>
                </c:pt>
                <c:pt idx="4">
                  <c:v>2.1080000000000001</c:v>
                </c:pt>
                <c:pt idx="5">
                  <c:v>2.4649999999999999</c:v>
                </c:pt>
                <c:pt idx="6">
                  <c:v>2.4990000000000001</c:v>
                </c:pt>
                <c:pt idx="7">
                  <c:v>4.25</c:v>
                </c:pt>
                <c:pt idx="8">
                  <c:v>5.27</c:v>
                </c:pt>
                <c:pt idx="9">
                  <c:v>5.6950000000000003</c:v>
                </c:pt>
                <c:pt idx="10">
                  <c:v>12.664999999999999</c:v>
                </c:pt>
                <c:pt idx="11">
                  <c:v>19.04</c:v>
                </c:pt>
                <c:pt idx="12">
                  <c:v>38.793999999999997</c:v>
                </c:pt>
                <c:pt idx="13">
                  <c:v>54.6549999999999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36126720"/>
        <c:axId val="72710912"/>
      </c:barChart>
      <c:catAx>
        <c:axId val="3612672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2">
                    <a:lumMod val="50000"/>
                  </a:schemeClr>
                </a:solidFill>
              </a:defRPr>
            </a:pPr>
            <a:endParaRPr lang="ru-RU"/>
          </a:p>
        </c:txPr>
        <c:crossAx val="72710912"/>
        <c:crosses val="autoZero"/>
        <c:auto val="1"/>
        <c:lblAlgn val="ctr"/>
        <c:lblOffset val="100"/>
        <c:tickLblSkip val="1"/>
        <c:noMultiLvlLbl val="0"/>
      </c:catAx>
      <c:valAx>
        <c:axId val="72710912"/>
        <c:scaling>
          <c:orientation val="minMax"/>
        </c:scaling>
        <c:delete val="1"/>
        <c:axPos val="b"/>
        <c:numFmt formatCode="0.00" sourceLinked="1"/>
        <c:majorTickMark val="out"/>
        <c:minorTickMark val="none"/>
        <c:tickLblPos val="nextTo"/>
        <c:crossAx val="3612672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5" y="1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A2468-1EAF-4F01-BAA5-DE16E19A3859}" type="datetimeFigureOut">
              <a:rPr lang="ru-RU" smtClean="0"/>
              <a:pPr/>
              <a:t>24.11.201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428585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5" y="9428585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CD0BD1-C098-4A5C-BD4C-4FE144CE722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43222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4B5B63-A862-4BF6-A2F7-477AFCFC03B4}" type="datetimeFigureOut">
              <a:rPr lang="ru-RU" smtClean="0"/>
              <a:pPr/>
              <a:t>24.11.201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2950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28585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0FA996-FEAC-4B77-AE5E-9A0BE437E0C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95399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Shape 21"/>
          <p:cNvSpPr>
            <a:spLocks noGrp="1"/>
          </p:cNvSpPr>
          <p:nvPr>
            <p:ph type="title"/>
          </p:nvPr>
        </p:nvSpPr>
        <p:spPr>
          <a:xfrm>
            <a:off x="2242991" y="209325"/>
            <a:ext cx="6718998" cy="731396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3100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5600" dirty="0">
                <a:solidFill>
                  <a:srgbClr val="525E6B"/>
                </a:solidFill>
              </a:rPr>
              <a:t>Title Text</a:t>
            </a:r>
          </a:p>
        </p:txBody>
      </p:sp>
      <p:sp>
        <p:nvSpPr>
          <p:cNvPr id="5" name="Shape 22"/>
          <p:cNvSpPr>
            <a:spLocks noGrp="1"/>
          </p:cNvSpPr>
          <p:nvPr>
            <p:ph type="body" idx="1"/>
          </p:nvPr>
        </p:nvSpPr>
        <p:spPr>
          <a:xfrm>
            <a:off x="554303" y="1555667"/>
            <a:ext cx="8035393" cy="3360493"/>
          </a:xfrm>
          <a:prstGeom prst="rect">
            <a:avLst/>
          </a:prstGeom>
        </p:spPr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2500" dirty="0">
                <a:solidFill>
                  <a:srgbClr val="65737E"/>
                </a:solidFill>
              </a:rPr>
              <a:t>Body Level One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500" dirty="0">
                <a:solidFill>
                  <a:srgbClr val="65737E"/>
                </a:solidFill>
              </a:rPr>
              <a:t>Body Level Tw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500" dirty="0">
                <a:solidFill>
                  <a:srgbClr val="65737E"/>
                </a:solidFill>
              </a:rPr>
              <a:t>Body Level Thre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500" dirty="0">
                <a:solidFill>
                  <a:srgbClr val="65737E"/>
                </a:solidFill>
              </a:rPr>
              <a:t>Body Level Four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500" dirty="0">
                <a:solidFill>
                  <a:srgbClr val="65737E"/>
                </a:solidFill>
              </a:rPr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2292974985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818791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9"/>
          <p:cNvSpPr/>
          <p:nvPr/>
        </p:nvSpPr>
        <p:spPr>
          <a:xfrm>
            <a:off x="0" y="0"/>
            <a:ext cx="9144000" cy="4596487"/>
          </a:xfrm>
          <a:prstGeom prst="rect">
            <a:avLst/>
          </a:prstGeom>
          <a:solidFill>
            <a:srgbClr val="F15922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>
              <a:defRPr sz="2400">
                <a:solidFill>
                  <a:srgbClr val="EF5B2E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EF5B2E"/>
                </a:solidFill>
              </a:rPr>
              <a:t>я</a:t>
            </a:r>
          </a:p>
        </p:txBody>
      </p:sp>
      <p:sp>
        <p:nvSpPr>
          <p:cNvPr id="10" name="Shape 10"/>
          <p:cNvSpPr>
            <a:spLocks noGrp="1"/>
          </p:cNvSpPr>
          <p:nvPr>
            <p:ph type="title" hasCustomPrompt="1"/>
          </p:nvPr>
        </p:nvSpPr>
        <p:spPr>
          <a:xfrm>
            <a:off x="892969" y="517922"/>
            <a:ext cx="7358063" cy="2321719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6200">
                <a:solidFill>
                  <a:srgbClr val="FFFFFF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ru-RU" sz="5600" dirty="0" smtClean="0">
                <a:solidFill>
                  <a:srgbClr val="FFFFFF"/>
                </a:solidFill>
              </a:rPr>
              <a:t>Название</a:t>
            </a:r>
            <a:endParaRPr sz="5600" dirty="0">
              <a:solidFill>
                <a:srgbClr val="FFFFFF"/>
              </a:solidFill>
            </a:endParaRPr>
          </a:p>
        </p:txBody>
      </p:sp>
      <p:sp>
        <p:nvSpPr>
          <p:cNvPr id="11" name="Shape 11"/>
          <p:cNvSpPr>
            <a:spLocks noGrp="1"/>
          </p:cNvSpPr>
          <p:nvPr>
            <p:ph type="body" idx="1"/>
          </p:nvPr>
        </p:nvSpPr>
        <p:spPr>
          <a:xfrm>
            <a:off x="892969" y="3187899"/>
            <a:ext cx="7358063" cy="794742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 sz="2200">
                <a:solidFill>
                  <a:srgbClr val="FFFFFF"/>
                </a:solidFill>
              </a:defRPr>
            </a:lvl1pPr>
            <a:lvl2pPr algn="ctr">
              <a:spcBef>
                <a:spcPts val="0"/>
              </a:spcBef>
              <a:defRPr sz="2200">
                <a:solidFill>
                  <a:srgbClr val="FFFFFF"/>
                </a:solidFill>
              </a:defRPr>
            </a:lvl2pPr>
            <a:lvl3pPr algn="ctr">
              <a:spcBef>
                <a:spcPts val="0"/>
              </a:spcBef>
              <a:defRPr sz="2200">
                <a:solidFill>
                  <a:srgbClr val="FFFFFF"/>
                </a:solidFill>
              </a:defRPr>
            </a:lvl3pPr>
            <a:lvl4pPr algn="ctr">
              <a:spcBef>
                <a:spcPts val="0"/>
              </a:spcBef>
              <a:defRPr sz="2200">
                <a:solidFill>
                  <a:srgbClr val="FFFFFF"/>
                </a:solidFill>
              </a:defRPr>
            </a:lvl4pPr>
            <a:lvl5pPr algn="ctr">
              <a:spcBef>
                <a:spcPts val="0"/>
              </a:spcBef>
              <a:defRPr sz="2200">
                <a:solidFill>
                  <a:srgbClr val="FFFFFF"/>
                </a:solidFill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2200">
                <a:solidFill>
                  <a:srgbClr val="FFFFFF"/>
                </a:solidFill>
              </a:rPr>
              <a:t>Body Level One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200">
                <a:solidFill>
                  <a:srgbClr val="FFFFFF"/>
                </a:solidFill>
              </a:rPr>
              <a:t>Body Level Tw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200">
                <a:solidFill>
                  <a:srgbClr val="FFFFFF"/>
                </a:solidFill>
              </a:rPr>
              <a:t>Body Level Thre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200">
                <a:solidFill>
                  <a:srgbClr val="FFFFFF"/>
                </a:solidFill>
              </a:rPr>
              <a:t>Body Level Four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200">
                <a:solidFill>
                  <a:srgbClr val="FFFFFF"/>
                </a:solidFill>
              </a:rPr>
              <a:t>Body Level Five</a:t>
            </a:r>
          </a:p>
        </p:txBody>
      </p:sp>
      <p:pic>
        <p:nvPicPr>
          <p:cNvPr id="2050" name="Picture 2" descr="C:\Users\ivol005\Desktop\Логотипы\Генерация\tplus_group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9020" y="5084218"/>
            <a:ext cx="1885961" cy="1147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876314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250825" y="6356350"/>
            <a:ext cx="583406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5710F0-95CE-41ED-9A90-13AF48BDBFF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9194979"/>
      </p:ext>
    </p:extLst>
  </p:cSld>
  <p:clrMapOvr>
    <a:masterClrMapping/>
  </p:clrMapOvr>
  <p:transition>
    <p:fade thruBlk="1"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/>
          <p:nvPr/>
        </p:nvSpPr>
        <p:spPr>
          <a:xfrm>
            <a:off x="-8930" y="-1"/>
            <a:ext cx="9161860" cy="6858001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0751">
              <a:defRPr sz="24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2400" kern="0" dirty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3" name="Shape 3"/>
          <p:cNvSpPr/>
          <p:nvPr/>
        </p:nvSpPr>
        <p:spPr>
          <a:xfrm>
            <a:off x="-8930" y="-5546"/>
            <a:ext cx="9161860" cy="1149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miter lim="400000"/>
          </a:ln>
          <a:effectLst>
            <a:outerShdw blurRad="266700" dist="38100" dir="5400000" sx="99000" sy="99000" algn="t" rotWithShape="0">
              <a:prstClr val="black">
                <a:alpha val="19000"/>
              </a:prstClr>
            </a:outerShdw>
          </a:effectLst>
        </p:spPr>
        <p:txBody>
          <a:bodyPr lIns="0" tIns="0" rIns="0" bIns="0" anchor="ctr"/>
          <a:lstStyle/>
          <a:p>
            <a:pPr algn="ctr" defTabSz="410751">
              <a:defRPr sz="24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2400" kern="0" dirty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8521189" y="6416207"/>
            <a:ext cx="446873" cy="200055"/>
          </a:xfrm>
          <a:prstGeom prst="rect">
            <a:avLst/>
          </a:prstGeom>
          <a:ln w="12700">
            <a:miter lim="400000"/>
          </a:ln>
        </p:spPr>
        <p:txBody>
          <a:bodyPr lIns="0" tIns="0" rIns="0" bIns="0">
            <a:spAutoFit/>
          </a:bodyPr>
          <a:lstStyle>
            <a:lvl1pPr algn="r">
              <a:defRPr sz="1300">
                <a:solidFill>
                  <a:srgbClr val="525E6A"/>
                </a:solidFill>
              </a:defRPr>
            </a:lvl1pPr>
          </a:lstStyle>
          <a:p>
            <a:pPr defTabSz="410751"/>
            <a:fld id="{86CB4B4D-7CA3-9044-876B-883B54F8677D}" type="slidenum">
              <a:rPr kern="0">
                <a:sym typeface="Arial"/>
              </a:rPr>
              <a:pPr defTabSz="410751"/>
              <a:t>‹#›</a:t>
            </a:fld>
            <a:endParaRPr kern="0" dirty="0">
              <a:sym typeface="Arial"/>
            </a:endParaRPr>
          </a:p>
        </p:txBody>
      </p:sp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554303" y="1518953"/>
            <a:ext cx="8035394" cy="10577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5600" dirty="0">
                <a:solidFill>
                  <a:srgbClr val="525E6B"/>
                </a:solidFill>
              </a:rPr>
              <a:t>Title Text</a:t>
            </a:r>
          </a:p>
        </p:txBody>
      </p:sp>
      <p:sp>
        <p:nvSpPr>
          <p:cNvPr id="6" name="Shape 6"/>
          <p:cNvSpPr>
            <a:spLocks noGrp="1"/>
          </p:cNvSpPr>
          <p:nvPr>
            <p:ph type="body" idx="1"/>
          </p:nvPr>
        </p:nvSpPr>
        <p:spPr>
          <a:xfrm>
            <a:off x="544711" y="2888021"/>
            <a:ext cx="8035393" cy="33604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500" dirty="0">
                <a:solidFill>
                  <a:srgbClr val="65737E"/>
                </a:solidFill>
              </a:rPr>
              <a:t>Body Level One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500" dirty="0">
                <a:solidFill>
                  <a:srgbClr val="65737E"/>
                </a:solidFill>
              </a:rPr>
              <a:t>Body Level Tw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500" dirty="0">
                <a:solidFill>
                  <a:srgbClr val="65737E"/>
                </a:solidFill>
              </a:rPr>
              <a:t>Body Level Thre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500" dirty="0">
                <a:solidFill>
                  <a:srgbClr val="65737E"/>
                </a:solidFill>
              </a:rPr>
              <a:t>Body Level Four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500" dirty="0">
                <a:solidFill>
                  <a:srgbClr val="65737E"/>
                </a:solidFill>
              </a:rPr>
              <a:t>Body Level Five</a:t>
            </a:r>
          </a:p>
        </p:txBody>
      </p:sp>
      <p:pic>
        <p:nvPicPr>
          <p:cNvPr id="1026" name="Picture 2" descr="C:\Users\ivol005\Desktop\Логотипы\Генерация\tplus_group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862" y="247807"/>
            <a:ext cx="1055928" cy="642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5657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9" r:id="rId2"/>
    <p:sldLayoutId id="2147483690" r:id="rId3"/>
    <p:sldLayoutId id="2147483691" r:id="rId4"/>
  </p:sldLayoutIdLst>
  <p:transition spd="med"/>
  <p:timing>
    <p:tnLst>
      <p:par>
        <p:cTn id="1" dur="indefinite" restart="never" nodeType="tmRoot"/>
      </p:par>
    </p:tnLst>
  </p:timing>
  <p:hf hdr="0" ftr="0" dt="0"/>
  <p:txStyles>
    <p:titleStyle>
      <a:lvl1pPr defTabSz="410751">
        <a:defRPr sz="3100" baseline="0">
          <a:solidFill>
            <a:srgbClr val="525E6B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Arial"/>
        </a:defRPr>
      </a:lvl1pPr>
      <a:lvl2pPr indent="160729" defTabSz="410751">
        <a:defRPr sz="5600">
          <a:solidFill>
            <a:srgbClr val="525E6B"/>
          </a:solidFill>
          <a:latin typeface="+mn-lt"/>
          <a:ea typeface="+mn-ea"/>
          <a:cs typeface="+mn-cs"/>
          <a:sym typeface="Arial"/>
        </a:defRPr>
      </a:lvl2pPr>
      <a:lvl3pPr indent="321457" defTabSz="410751">
        <a:defRPr sz="5600">
          <a:solidFill>
            <a:srgbClr val="525E6B"/>
          </a:solidFill>
          <a:latin typeface="+mn-lt"/>
          <a:ea typeface="+mn-ea"/>
          <a:cs typeface="+mn-cs"/>
          <a:sym typeface="Arial"/>
        </a:defRPr>
      </a:lvl3pPr>
      <a:lvl4pPr indent="482186" defTabSz="410751">
        <a:defRPr sz="5600">
          <a:solidFill>
            <a:srgbClr val="525E6B"/>
          </a:solidFill>
          <a:latin typeface="+mn-lt"/>
          <a:ea typeface="+mn-ea"/>
          <a:cs typeface="+mn-cs"/>
          <a:sym typeface="Arial"/>
        </a:defRPr>
      </a:lvl4pPr>
      <a:lvl5pPr indent="642915" defTabSz="410751">
        <a:defRPr sz="5600">
          <a:solidFill>
            <a:srgbClr val="525E6B"/>
          </a:solidFill>
          <a:latin typeface="+mn-lt"/>
          <a:ea typeface="+mn-ea"/>
          <a:cs typeface="+mn-cs"/>
          <a:sym typeface="Arial"/>
        </a:defRPr>
      </a:lvl5pPr>
      <a:lvl6pPr indent="803643" defTabSz="410751">
        <a:defRPr sz="5600">
          <a:solidFill>
            <a:srgbClr val="525E6B"/>
          </a:solidFill>
          <a:latin typeface="+mn-lt"/>
          <a:ea typeface="+mn-ea"/>
          <a:cs typeface="+mn-cs"/>
          <a:sym typeface="Arial"/>
        </a:defRPr>
      </a:lvl6pPr>
      <a:lvl7pPr indent="964372" defTabSz="410751">
        <a:defRPr sz="5600">
          <a:solidFill>
            <a:srgbClr val="525E6B"/>
          </a:solidFill>
          <a:latin typeface="+mn-lt"/>
          <a:ea typeface="+mn-ea"/>
          <a:cs typeface="+mn-cs"/>
          <a:sym typeface="Arial"/>
        </a:defRPr>
      </a:lvl7pPr>
      <a:lvl8pPr indent="1125101" defTabSz="410751">
        <a:defRPr sz="5600">
          <a:solidFill>
            <a:srgbClr val="525E6B"/>
          </a:solidFill>
          <a:latin typeface="+mn-lt"/>
          <a:ea typeface="+mn-ea"/>
          <a:cs typeface="+mn-cs"/>
          <a:sym typeface="Arial"/>
        </a:defRPr>
      </a:lvl8pPr>
      <a:lvl9pPr indent="1285829" defTabSz="410751">
        <a:defRPr sz="5600">
          <a:solidFill>
            <a:srgbClr val="525E6B"/>
          </a:solidFill>
          <a:latin typeface="+mn-lt"/>
          <a:ea typeface="+mn-ea"/>
          <a:cs typeface="+mn-cs"/>
          <a:sym typeface="Arial"/>
        </a:defRPr>
      </a:lvl9pPr>
    </p:titleStyle>
    <p:bodyStyle>
      <a:lvl1pPr defTabSz="410751">
        <a:spcBef>
          <a:spcPts val="2953"/>
        </a:spcBef>
        <a:defRPr sz="2500">
          <a:solidFill>
            <a:srgbClr val="65737E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Arial"/>
        </a:defRPr>
      </a:lvl1pPr>
      <a:lvl2pPr indent="160729" defTabSz="410751">
        <a:spcBef>
          <a:spcPts val="2953"/>
        </a:spcBef>
        <a:defRPr sz="2500">
          <a:solidFill>
            <a:srgbClr val="65737E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Arial"/>
        </a:defRPr>
      </a:lvl2pPr>
      <a:lvl3pPr indent="321457" defTabSz="410751">
        <a:spcBef>
          <a:spcPts val="2953"/>
        </a:spcBef>
        <a:defRPr sz="2500">
          <a:solidFill>
            <a:srgbClr val="65737E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Arial"/>
        </a:defRPr>
      </a:lvl3pPr>
      <a:lvl4pPr indent="482186" defTabSz="410751">
        <a:spcBef>
          <a:spcPts val="2953"/>
        </a:spcBef>
        <a:defRPr sz="2500">
          <a:solidFill>
            <a:srgbClr val="65737E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Arial"/>
        </a:defRPr>
      </a:lvl4pPr>
      <a:lvl5pPr indent="642915" defTabSz="410751">
        <a:spcBef>
          <a:spcPts val="2953"/>
        </a:spcBef>
        <a:defRPr sz="2500">
          <a:solidFill>
            <a:srgbClr val="65737E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Arial"/>
        </a:defRPr>
      </a:lvl5pPr>
      <a:lvl6pPr indent="803643" defTabSz="410751">
        <a:spcBef>
          <a:spcPts val="2953"/>
        </a:spcBef>
        <a:defRPr sz="2500">
          <a:solidFill>
            <a:srgbClr val="65737E"/>
          </a:solidFill>
          <a:latin typeface="+mn-lt"/>
          <a:ea typeface="+mn-ea"/>
          <a:cs typeface="+mn-cs"/>
          <a:sym typeface="Arial"/>
        </a:defRPr>
      </a:lvl6pPr>
      <a:lvl7pPr indent="964372" defTabSz="410751">
        <a:spcBef>
          <a:spcPts val="2953"/>
        </a:spcBef>
        <a:defRPr sz="2500">
          <a:solidFill>
            <a:srgbClr val="65737E"/>
          </a:solidFill>
          <a:latin typeface="+mn-lt"/>
          <a:ea typeface="+mn-ea"/>
          <a:cs typeface="+mn-cs"/>
          <a:sym typeface="Arial"/>
        </a:defRPr>
      </a:lvl7pPr>
      <a:lvl8pPr indent="1125101" defTabSz="410751">
        <a:spcBef>
          <a:spcPts val="2953"/>
        </a:spcBef>
        <a:defRPr sz="2500">
          <a:solidFill>
            <a:srgbClr val="65737E"/>
          </a:solidFill>
          <a:latin typeface="+mn-lt"/>
          <a:ea typeface="+mn-ea"/>
          <a:cs typeface="+mn-cs"/>
          <a:sym typeface="Arial"/>
        </a:defRPr>
      </a:lvl8pPr>
      <a:lvl9pPr indent="1285829" defTabSz="410751">
        <a:spcBef>
          <a:spcPts val="2953"/>
        </a:spcBef>
        <a:defRPr sz="2500">
          <a:solidFill>
            <a:srgbClr val="65737E"/>
          </a:solidFill>
          <a:latin typeface="+mn-lt"/>
          <a:ea typeface="+mn-ea"/>
          <a:cs typeface="+mn-cs"/>
          <a:sym typeface="Arial"/>
        </a:defRPr>
      </a:lvl9pPr>
    </p:bodyStyle>
    <p:otherStyle>
      <a:lvl1pPr algn="r" defTabSz="410751">
        <a:defRPr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indent="160729" algn="r" defTabSz="410751">
        <a:defRPr>
          <a:solidFill>
            <a:schemeClr val="tx1"/>
          </a:solidFill>
          <a:latin typeface="+mn-lt"/>
          <a:ea typeface="+mn-ea"/>
          <a:cs typeface="+mn-cs"/>
          <a:sym typeface="Arial"/>
        </a:defRPr>
      </a:lvl2pPr>
      <a:lvl3pPr indent="321457" algn="r" defTabSz="410751">
        <a:defRPr>
          <a:solidFill>
            <a:schemeClr val="tx1"/>
          </a:solidFill>
          <a:latin typeface="+mn-lt"/>
          <a:ea typeface="+mn-ea"/>
          <a:cs typeface="+mn-cs"/>
          <a:sym typeface="Arial"/>
        </a:defRPr>
      </a:lvl3pPr>
      <a:lvl4pPr indent="482186" algn="r" defTabSz="410751">
        <a:defRPr>
          <a:solidFill>
            <a:schemeClr val="tx1"/>
          </a:solidFill>
          <a:latin typeface="+mn-lt"/>
          <a:ea typeface="+mn-ea"/>
          <a:cs typeface="+mn-cs"/>
          <a:sym typeface="Arial"/>
        </a:defRPr>
      </a:lvl4pPr>
      <a:lvl5pPr indent="642915" algn="r" defTabSz="410751">
        <a:defRPr>
          <a:solidFill>
            <a:schemeClr val="tx1"/>
          </a:solidFill>
          <a:latin typeface="+mn-lt"/>
          <a:ea typeface="+mn-ea"/>
          <a:cs typeface="+mn-cs"/>
          <a:sym typeface="Arial"/>
        </a:defRPr>
      </a:lvl5pPr>
      <a:lvl6pPr indent="803643" algn="r" defTabSz="410751">
        <a:defRPr>
          <a:solidFill>
            <a:schemeClr val="tx1"/>
          </a:solidFill>
          <a:latin typeface="+mn-lt"/>
          <a:ea typeface="+mn-ea"/>
          <a:cs typeface="+mn-cs"/>
          <a:sym typeface="Arial"/>
        </a:defRPr>
      </a:lvl6pPr>
      <a:lvl7pPr indent="964372" algn="r" defTabSz="410751">
        <a:defRPr>
          <a:solidFill>
            <a:schemeClr val="tx1"/>
          </a:solidFill>
          <a:latin typeface="+mn-lt"/>
          <a:ea typeface="+mn-ea"/>
          <a:cs typeface="+mn-cs"/>
          <a:sym typeface="Arial"/>
        </a:defRPr>
      </a:lvl7pPr>
      <a:lvl8pPr indent="1125101" algn="r" defTabSz="410751">
        <a:defRPr>
          <a:solidFill>
            <a:schemeClr val="tx1"/>
          </a:solidFill>
          <a:latin typeface="+mn-lt"/>
          <a:ea typeface="+mn-ea"/>
          <a:cs typeface="+mn-cs"/>
          <a:sym typeface="Arial"/>
        </a:defRPr>
      </a:lvl8pPr>
      <a:lvl9pPr indent="1285829" algn="r" defTabSz="410751">
        <a:defRPr>
          <a:solidFill>
            <a:schemeClr val="tx1"/>
          </a:solidFill>
          <a:latin typeface="+mn-lt"/>
          <a:ea typeface="+mn-ea"/>
          <a:cs typeface="+mn-cs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image" Target="../media/image7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27"/>
          <p:cNvSpPr>
            <a:spLocks noGrp="1"/>
          </p:cNvSpPr>
          <p:nvPr>
            <p:ph type="title"/>
          </p:nvPr>
        </p:nvSpPr>
        <p:spPr>
          <a:xfrm>
            <a:off x="144016" y="620688"/>
            <a:ext cx="9036496" cy="33020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2800" dirty="0" smtClean="0"/>
              <a:t>Аспекты перехода к современной системе теплоснабжения на основе индивидуальных </a:t>
            </a:r>
            <a:br>
              <a:rPr lang="ru-RU" sz="2800" dirty="0" smtClean="0"/>
            </a:br>
            <a:r>
              <a:rPr lang="ru-RU" sz="2800" dirty="0" smtClean="0"/>
              <a:t>тепловых пунктов с использованием средств</a:t>
            </a:r>
            <a:r>
              <a:rPr lang="en-US" sz="2800" dirty="0" smtClean="0"/>
              <a:t> 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>фонда </a:t>
            </a:r>
            <a:r>
              <a:rPr lang="ru-RU" sz="2800" dirty="0"/>
              <a:t>капитального ремонта</a:t>
            </a:r>
          </a:p>
        </p:txBody>
      </p:sp>
    </p:spTree>
    <p:extLst>
      <p:ext uri="{BB962C8B-B14F-4D97-AF65-F5344CB8AC3E}">
        <p14:creationId xmlns:p14="http://schemas.microsoft.com/office/powerpoint/2010/main" val="222159465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0350947"/>
              </p:ext>
            </p:extLst>
          </p:nvPr>
        </p:nvGraphicFramePr>
        <p:xfrm>
          <a:off x="179513" y="3213663"/>
          <a:ext cx="8784975" cy="27356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64296"/>
                <a:gridCol w="774913"/>
                <a:gridCol w="561504"/>
                <a:gridCol w="631692"/>
                <a:gridCol w="772067"/>
                <a:gridCol w="701879"/>
                <a:gridCol w="1123007"/>
                <a:gridCol w="1555617"/>
              </a:tblGrid>
              <a:tr h="42115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baseline="0" dirty="0" smtClean="0">
                          <a:solidFill>
                            <a:schemeClr val="bg1"/>
                          </a:solidFill>
                          <a:effectLst/>
                        </a:rPr>
                        <a:t>Энергосберегающие и</a:t>
                      </a:r>
                    </a:p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энергоэффективные</a:t>
                      </a:r>
                      <a:r>
                        <a:rPr lang="ru-RU" sz="1100" b="1" u="none" strike="noStrike" baseline="0" dirty="0" smtClean="0">
                          <a:solidFill>
                            <a:schemeClr val="bg1"/>
                          </a:solidFill>
                          <a:effectLst/>
                        </a:rPr>
                        <a:t>  м</a:t>
                      </a:r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ероприятие</a:t>
                      </a:r>
                    </a:p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в рамках капитального</a:t>
                      </a:r>
                      <a:r>
                        <a:rPr lang="ru-RU" sz="1100" b="1" u="none" strike="noStrike" baseline="0" dirty="0" smtClean="0">
                          <a:solidFill>
                            <a:schemeClr val="bg1"/>
                          </a:solidFill>
                          <a:effectLst/>
                        </a:rPr>
                        <a:t> ремонта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315" marR="9315" marT="931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42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ИНВЕСТИЦИИ*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42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ЭКОНОМИЯ (в год)**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42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ОКУПАЕМОСТЬ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42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Отдача (в год)</a:t>
                      </a:r>
                      <a:br>
                        <a:rPr lang="ru-RU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ru-RU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на </a:t>
                      </a:r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1000руб </a:t>
                      </a:r>
                      <a:r>
                        <a:rPr lang="ru-RU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вложений 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427"/>
                    </a:solidFill>
                  </a:tcPr>
                </a:tc>
              </a:tr>
              <a:tr h="21654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тыс.руб.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42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%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42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Гкал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42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тыс.руб.</a:t>
                      </a:r>
                      <a:endParaRPr lang="ru-RU" sz="1100" b="1" i="0" u="none" strike="noStrike" baseline="30000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42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%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42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лет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42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руб/руб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315" marR="9315" marT="931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5427"/>
                    </a:solidFill>
                  </a:tcPr>
                </a:tc>
              </a:tr>
              <a:tr h="259349">
                <a:tc>
                  <a:txBody>
                    <a:bodyPr/>
                    <a:lstStyle/>
                    <a:p>
                      <a:pPr lvl="1"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тановка ИТП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5078">
                <a:tc>
                  <a:txBody>
                    <a:bodyPr/>
                    <a:lstStyle/>
                    <a:p>
                      <a:pPr lvl="1"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идравлическая балансировка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/>
                      </a:r>
                      <a:b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и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мывка системы отопления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56777">
                <a:tc>
                  <a:txBody>
                    <a:bodyPr/>
                    <a:lstStyle/>
                    <a:p>
                      <a:pPr lvl="1"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плоизоляция труб и арматуры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1949">
                <a:tc>
                  <a:txBody>
                    <a:bodyPr/>
                    <a:lstStyle/>
                    <a:p>
                      <a:pPr lvl="1"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рмостатические радиаторные клапаны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6024">
                <a:tc>
                  <a:txBody>
                    <a:bodyPr/>
                    <a:lstStyle/>
                    <a:p>
                      <a:pPr lvl="1"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егулятор давления холодной воды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24">
                <a:tc>
                  <a:txBody>
                    <a:bodyPr/>
                    <a:lstStyle/>
                    <a:p>
                      <a:pPr lvl="1"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мена окон на лестничных клетках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6024">
                <a:tc>
                  <a:txBody>
                    <a:bodyPr/>
                    <a:lstStyle/>
                    <a:p>
                      <a:pPr lvl="1"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плоизоляция внешних стен (100 мм)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6959">
                <a:tc>
                  <a:txBody>
                    <a:bodyPr/>
                    <a:lstStyle/>
                    <a:p>
                      <a:pPr lvl="1"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плоизоляция плоской крыши (100 мм)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4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5337"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u="none" strike="noStrike" dirty="0">
                          <a:effectLst/>
                        </a:rPr>
                        <a:t>Всего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315" marR="9315" marT="9315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 8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  <p:sp>
        <p:nvSpPr>
          <p:cNvPr id="11" name="Номер слайда 81"/>
          <p:cNvSpPr txBox="1">
            <a:spLocks/>
          </p:cNvSpPr>
          <p:nvPr/>
        </p:nvSpPr>
        <p:spPr>
          <a:xfrm>
            <a:off x="8521189" y="6397297"/>
            <a:ext cx="446873" cy="200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18000" anchor="b" anchorCtr="0">
            <a:normAutofit fontScale="55000" lnSpcReduction="20000"/>
          </a:bodyPr>
          <a:lstStyle>
            <a:lvl1pPr defTabSz="410751">
              <a:spcBef>
                <a:spcPts val="0"/>
              </a:spcBef>
              <a:defRPr sz="2500" b="1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1pPr>
            <a:lvl2pPr indent="160729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2pPr>
            <a:lvl3pPr indent="321457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3pPr>
            <a:lvl4pPr indent="482186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4pPr>
            <a:lvl5pPr indent="642915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5pPr>
            <a:lvl6pPr indent="803643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indent="964372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indent="1125101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indent="1285829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r">
              <a:defRPr/>
            </a:pPr>
            <a:fld id="{185710F0-95CE-41ED-9A90-13AF48BDBFF5}" type="slidenum">
              <a:rPr lang="ru-RU" b="0" kern="0" smtClean="0"/>
              <a:pPr algn="r">
                <a:defRPr/>
              </a:pPr>
              <a:t>10</a:t>
            </a:fld>
            <a:endParaRPr lang="ru-RU" b="0" kern="0" dirty="0"/>
          </a:p>
        </p:txBody>
      </p:sp>
      <p:sp>
        <p:nvSpPr>
          <p:cNvPr id="14" name="Овал 13"/>
          <p:cNvSpPr/>
          <p:nvPr/>
        </p:nvSpPr>
        <p:spPr>
          <a:xfrm>
            <a:off x="7956376" y="5266205"/>
            <a:ext cx="504056" cy="251027"/>
          </a:xfrm>
          <a:prstGeom prst="ellipse">
            <a:avLst/>
          </a:prstGeom>
          <a:noFill/>
          <a:ln w="19050" cap="flat">
            <a:solidFill>
              <a:srgbClr val="C0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41" name="Заголовок 2"/>
          <p:cNvSpPr txBox="1">
            <a:spLocks/>
          </p:cNvSpPr>
          <p:nvPr/>
        </p:nvSpPr>
        <p:spPr>
          <a:xfrm>
            <a:off x="1797322" y="249332"/>
            <a:ext cx="6718998" cy="7313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Autofit/>
          </a:bodyPr>
          <a:lstStyle>
            <a:lvl1pPr defTabSz="410751">
              <a:defRPr sz="3100" baseline="0">
                <a:solidFill>
                  <a:srgbClr val="525E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1pPr>
            <a:lvl2pPr indent="160729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indent="321457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indent="482186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indent="642915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indent="803643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indent="964372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indent="1125101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indent="1285829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</a:rPr>
              <a:t>Энергоэффективность приводит </a:t>
            </a:r>
            <a:br>
              <a:rPr lang="ru-RU" sz="2400" dirty="0" smtClean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</a:rPr>
              <a:t>к увеличению стоимости квадратного метра</a:t>
            </a:r>
            <a:endParaRPr lang="ru-RU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80259" y="3861736"/>
            <a:ext cx="72380" cy="252027"/>
          </a:xfrm>
          <a:prstGeom prst="rect">
            <a:avLst/>
          </a:prstGeom>
          <a:solidFill>
            <a:srgbClr val="0099CC"/>
          </a:solidFill>
          <a:ln w="19050">
            <a:solidFill>
              <a:srgbClr val="0099CC"/>
            </a:solidFill>
            <a:prstDash val="solid"/>
          </a:ln>
        </p:spPr>
        <p:txBody>
          <a:bodyPr wrap="square">
            <a:spAutoFit/>
          </a:bodyPr>
          <a:lstStyle/>
          <a:p>
            <a:pPr algn="ctr"/>
            <a:endParaRPr lang="ru-RU" sz="14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179511" y="5085184"/>
            <a:ext cx="73127" cy="648759"/>
          </a:xfrm>
          <a:prstGeom prst="rect">
            <a:avLst/>
          </a:prstGeom>
          <a:solidFill>
            <a:srgbClr val="F15427"/>
          </a:solidFill>
          <a:ln w="19050">
            <a:solidFill>
              <a:srgbClr val="F15427"/>
            </a:solidFill>
            <a:prstDash val="solid"/>
          </a:ln>
        </p:spPr>
        <p:txBody>
          <a:bodyPr wrap="square">
            <a:spAutoFit/>
          </a:bodyPr>
          <a:lstStyle/>
          <a:p>
            <a:pPr algn="ctr"/>
            <a:endParaRPr lang="ru-RU" sz="14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07503" y="6089521"/>
            <a:ext cx="863712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900" dirty="0" smtClean="0"/>
              <a:t>*  Жилое </a:t>
            </a:r>
            <a:r>
              <a:rPr lang="ru-RU" sz="900" dirty="0"/>
              <a:t>здание,  5 этажей, 100 квартир, год постройки 1960-е гг., общая площадь 5535 кв.м, кирпичный дом, потребление тепла – 2233 Гкал в </a:t>
            </a:r>
            <a:r>
              <a:rPr lang="ru-RU" sz="900" dirty="0" smtClean="0"/>
              <a:t>год. </a:t>
            </a:r>
            <a:br>
              <a:rPr lang="ru-RU" sz="900" dirty="0" smtClean="0"/>
            </a:br>
            <a:r>
              <a:rPr lang="ru-RU" sz="900" dirty="0" smtClean="0"/>
              <a:t>    Значения инвестиций для конкретного объекта требуют уточнения по результатам обследования здания </a:t>
            </a:r>
            <a:endParaRPr lang="ru-RU" sz="900" baseline="30000" dirty="0" smtClean="0"/>
          </a:p>
          <a:p>
            <a:pPr>
              <a:spcBef>
                <a:spcPts val="600"/>
              </a:spcBef>
            </a:pPr>
            <a:r>
              <a:rPr lang="ru-RU" sz="900" dirty="0" smtClean="0"/>
              <a:t>** Расчет исходя из </a:t>
            </a:r>
            <a:r>
              <a:rPr lang="ru-RU" sz="900" dirty="0"/>
              <a:t>тарифа 1750 </a:t>
            </a:r>
            <a:r>
              <a:rPr lang="ru-RU" sz="900" dirty="0" smtClean="0"/>
              <a:t>руб/Гкал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79512" y="1303020"/>
            <a:ext cx="8964488" cy="123110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</a:rPr>
              <a:t>Установка ИТП: 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экономически наиболее эффективный способ вложения средств </a:t>
            </a:r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</a:rPr>
              <a:t>ФКР</a:t>
            </a:r>
            <a:endParaRPr lang="ru-RU" sz="1600" dirty="0">
              <a:solidFill>
                <a:schemeClr val="bg2">
                  <a:lumMod val="50000"/>
                </a:schemeClr>
              </a:solidFill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</a:rPr>
              <a:t>основа энергосберегающих мероприятий капитального ремонта </a:t>
            </a:r>
            <a:br>
              <a:rPr lang="ru-RU" sz="1600" dirty="0" smtClean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</a:rPr>
              <a:t>(без 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ИТП </a:t>
            </a:r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</a:rPr>
              <a:t>платеж жителя 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за тепло не </a:t>
            </a:r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</a:rPr>
              <a:t>снизится, т.к. 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экономия будет уходить в </a:t>
            </a:r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</a:rPr>
              <a:t>форточки)</a:t>
            </a:r>
          </a:p>
        </p:txBody>
      </p:sp>
      <p:sp>
        <p:nvSpPr>
          <p:cNvPr id="47" name="Овал 46"/>
          <p:cNvSpPr/>
          <p:nvPr/>
        </p:nvSpPr>
        <p:spPr>
          <a:xfrm>
            <a:off x="5637615" y="3856760"/>
            <a:ext cx="504056" cy="251027"/>
          </a:xfrm>
          <a:prstGeom prst="ellipse">
            <a:avLst/>
          </a:prstGeom>
          <a:noFill/>
          <a:ln w="19050" cap="flat">
            <a:solidFill>
              <a:srgbClr val="C0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48" name="Овал 47"/>
          <p:cNvSpPr/>
          <p:nvPr/>
        </p:nvSpPr>
        <p:spPr>
          <a:xfrm>
            <a:off x="7958405" y="3856759"/>
            <a:ext cx="504056" cy="251027"/>
          </a:xfrm>
          <a:prstGeom prst="ellipse">
            <a:avLst/>
          </a:prstGeom>
          <a:noFill/>
          <a:ln w="19050" cap="flat">
            <a:solidFill>
              <a:srgbClr val="C0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49" name="Овал 48"/>
          <p:cNvSpPr/>
          <p:nvPr/>
        </p:nvSpPr>
        <p:spPr>
          <a:xfrm>
            <a:off x="5672481" y="5266204"/>
            <a:ext cx="504056" cy="251027"/>
          </a:xfrm>
          <a:prstGeom prst="ellipse">
            <a:avLst/>
          </a:prstGeom>
          <a:noFill/>
          <a:ln w="19050" cap="flat">
            <a:solidFill>
              <a:srgbClr val="C0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179514" y="4113764"/>
            <a:ext cx="73125" cy="324035"/>
          </a:xfrm>
          <a:prstGeom prst="rect">
            <a:avLst/>
          </a:prstGeom>
          <a:solidFill>
            <a:srgbClr val="0099CC"/>
          </a:solidFill>
          <a:ln w="19050">
            <a:solidFill>
              <a:srgbClr val="0099CC"/>
            </a:solidFill>
            <a:prstDash val="solid"/>
          </a:ln>
        </p:spPr>
        <p:txBody>
          <a:bodyPr wrap="square">
            <a:spAutoFit/>
          </a:bodyPr>
          <a:lstStyle/>
          <a:p>
            <a:pPr algn="ctr"/>
            <a:endParaRPr lang="ru-RU" sz="14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180632" y="4437799"/>
            <a:ext cx="70890" cy="144016"/>
          </a:xfrm>
          <a:prstGeom prst="rect">
            <a:avLst/>
          </a:prstGeom>
          <a:solidFill>
            <a:srgbClr val="F15427"/>
          </a:solidFill>
          <a:ln w="19050">
            <a:solidFill>
              <a:srgbClr val="F15427"/>
            </a:solidFill>
            <a:prstDash val="solid"/>
          </a:ln>
        </p:spPr>
        <p:txBody>
          <a:bodyPr wrap="square">
            <a:spAutoFit/>
          </a:bodyPr>
          <a:lstStyle/>
          <a:p>
            <a:pPr algn="ctr"/>
            <a:endParaRPr lang="ru-RU" sz="14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179515" y="4581815"/>
            <a:ext cx="72008" cy="288031"/>
          </a:xfrm>
          <a:prstGeom prst="rect">
            <a:avLst/>
          </a:prstGeom>
          <a:solidFill>
            <a:srgbClr val="0099CC"/>
          </a:solidFill>
          <a:ln w="19050">
            <a:solidFill>
              <a:srgbClr val="0099CC"/>
            </a:solidFill>
            <a:prstDash val="solid"/>
          </a:ln>
        </p:spPr>
        <p:txBody>
          <a:bodyPr wrap="square">
            <a:spAutoFit/>
          </a:bodyPr>
          <a:lstStyle/>
          <a:p>
            <a:pPr algn="ctr"/>
            <a:endParaRPr lang="ru-RU" sz="14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70780" y="2636912"/>
            <a:ext cx="8790039" cy="50405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251520" y="2797091"/>
            <a:ext cx="2588714" cy="271869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1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6516216" y="2791961"/>
            <a:ext cx="2313396" cy="276999"/>
          </a:xfrm>
          <a:prstGeom prst="rect">
            <a:avLst/>
          </a:prstGeom>
          <a:solidFill>
            <a:srgbClr val="F15427"/>
          </a:solidFill>
          <a:ln w="19050">
            <a:solidFill>
              <a:schemeClr val="accent5">
                <a:lumMod val="60000"/>
                <a:lumOff val="40000"/>
              </a:schemeClr>
            </a:solidFill>
            <a:prstDash val="solid"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2) Снижение теплопотерь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6124890" y="2730407"/>
            <a:ext cx="3193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chemeClr val="bg2">
                    <a:lumMod val="50000"/>
                  </a:schemeClr>
                </a:solidFill>
              </a:rPr>
              <a:t>+</a:t>
            </a:r>
            <a:endParaRPr lang="ru-RU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2915816" y="2730407"/>
            <a:ext cx="3987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bg2">
                    <a:lumMod val="50000"/>
                  </a:schemeClr>
                </a:solidFill>
              </a:rPr>
              <a:t>= </a:t>
            </a:r>
            <a:endParaRPr lang="ru-RU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07504" y="2780928"/>
            <a:ext cx="279521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Энергоэффективность здания 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79512" y="4797153"/>
            <a:ext cx="72008" cy="288031"/>
          </a:xfrm>
          <a:prstGeom prst="rect">
            <a:avLst/>
          </a:prstGeom>
          <a:solidFill>
            <a:srgbClr val="0099CC"/>
          </a:solidFill>
          <a:ln w="19050">
            <a:solidFill>
              <a:srgbClr val="0099CC"/>
            </a:solidFill>
            <a:prstDash val="solid"/>
          </a:ln>
        </p:spPr>
        <p:txBody>
          <a:bodyPr wrap="square">
            <a:spAutoFit/>
          </a:bodyPr>
          <a:lstStyle/>
          <a:p>
            <a:pPr algn="ctr"/>
            <a:endParaRPr lang="ru-RU" sz="14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283961" y="2791960"/>
            <a:ext cx="2857710" cy="276999"/>
          </a:xfrm>
          <a:prstGeom prst="rect">
            <a:avLst/>
          </a:prstGeom>
          <a:solidFill>
            <a:srgbClr val="0099CC"/>
          </a:solidFill>
          <a:ln w="19050">
            <a:solidFill>
              <a:srgbClr val="0099CC"/>
            </a:solidFill>
            <a:prstDash val="solid"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1) Регулировка теплопотребления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8685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84285" y="1268760"/>
            <a:ext cx="8136904" cy="479105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80975" defTabSz="584200" latinLnBrk="1" hangingPunct="0">
              <a:spcBef>
                <a:spcPts val="400"/>
              </a:spcBef>
              <a:spcAft>
                <a:spcPts val="400"/>
              </a:spcAft>
            </a:pPr>
            <a:r>
              <a:rPr lang="ru-RU" sz="1400" u="sng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На федеральном уровне:</a:t>
            </a:r>
          </a:p>
          <a:p>
            <a:pPr marL="742950" lvl="1" indent="-285750" defTabSz="584200" latinLnBrk="1" hangingPunct="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закрепить, что установка ИТП (как целостного объекта) является основой </a:t>
            </a:r>
            <a:b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</a:b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«Энергоэффективного капремонта» (позволяет получать экономию от всех </a:t>
            </a:r>
            <a:b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</a:b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энергоэффективных мероприятий при проведении капремонта)</a:t>
            </a:r>
          </a:p>
          <a:p>
            <a:pPr marL="742950" lvl="1" indent="-285750" defTabSz="584200" latinLnBrk="1" hangingPunct="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обязать устанавливать ИТП:</a:t>
            </a:r>
          </a:p>
          <a:p>
            <a:pPr marL="1200150" lvl="2" indent="-285750" defTabSz="584200" latinLnBrk="1" hangingPunct="0"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для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перевода системы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теплоснабжения на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 закрытую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схему;</a:t>
            </a:r>
          </a:p>
          <a:p>
            <a:pPr marL="1200150" lvl="2" indent="-285750" defTabSz="584200" latinLnBrk="1" hangingPunct="0"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при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новом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строительстве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(по принципу точечной застройки);</a:t>
            </a:r>
          </a:p>
          <a:p>
            <a:pPr marL="742950" lvl="1" indent="-285750" defTabSz="584200" latinLnBrk="1" hangingPunct="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закрепить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, что установка ИТП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является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реконструкцией системы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теплоснабжения, </a:t>
            </a:r>
            <a:b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а не новым строительством в существующих зданиях; </a:t>
            </a:r>
            <a:endParaRPr lang="ru-RU" sz="1400" dirty="0">
              <a:solidFill>
                <a:schemeClr val="bg2">
                  <a:lumMod val="50000"/>
                </a:schemeClr>
              </a:solidFill>
            </a:endParaRPr>
          </a:p>
          <a:p>
            <a:pPr marL="742950" lvl="1" indent="-285750" defTabSz="584200" latinLnBrk="1" hangingPunct="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sym typeface="Arial"/>
              </a:rPr>
              <a:t>и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нициировать разработку программ по установке ИТП в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sym typeface="Arial"/>
              </a:rPr>
              <a:t>течение 3-х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лет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sym typeface="Arial"/>
              </a:rPr>
              <a:t>в бюджетных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/>
            </a:r>
            <a:b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</a:b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учреждениях </a:t>
            </a:r>
          </a:p>
          <a:p>
            <a:pPr marL="742950" lvl="1" indent="-285750" defTabSz="584200" latinLnBrk="1" hangingPunct="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в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sym typeface="Arial"/>
              </a:rPr>
              <a:t>случае установки ИТП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жителями предусмотреть механизм софинансирования </a:t>
            </a:r>
            <a:b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</a:b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из бюджета всех остальных энергоэфективных мероприятия капремонта </a:t>
            </a:r>
          </a:p>
          <a:p>
            <a:pPr defTabSz="584200" latinLnBrk="1" hangingPunct="0">
              <a:spcBef>
                <a:spcPts val="400"/>
              </a:spcBef>
              <a:spcAft>
                <a:spcPts val="400"/>
              </a:spcAft>
            </a:pPr>
            <a:r>
              <a:rPr lang="ru-RU" sz="1400" u="sng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На региональном уровне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:</a:t>
            </a:r>
          </a:p>
          <a:p>
            <a:pPr marL="742950" lvl="1" indent="-285750" defTabSz="584200" latinLnBrk="1" hangingPunct="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включать установку ИТП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в программу капитального ремонта до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sym typeface="Arial"/>
              </a:rPr>
              <a:t>прочих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/>
            </a:r>
            <a:b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</a:b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энергоэффективных мероприятий;</a:t>
            </a:r>
          </a:p>
          <a:p>
            <a:pPr marL="742950" lvl="1" indent="-285750" defTabSz="584200" latinLnBrk="1" hangingPunct="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учитывать установку ИТП при формировании предельных стоимостей по капремонту.</a:t>
            </a:r>
            <a:endParaRPr lang="ru-RU" sz="1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797322" y="249332"/>
            <a:ext cx="6718998" cy="731396"/>
          </a:xfrm>
        </p:spPr>
        <p:txBody>
          <a:bodyPr>
            <a:noAutofit/>
          </a:bodyPr>
          <a:lstStyle/>
          <a:p>
            <a:pPr algn="l"/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</a:rPr>
              <a:t>Что необходимо сделать законодательно</a:t>
            </a:r>
            <a:br>
              <a:rPr lang="ru-RU" sz="2400" dirty="0" smtClean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</a:rPr>
              <a:t>для масштабной установки ИТП</a:t>
            </a:r>
            <a:endParaRPr lang="ru-RU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2" name="Номер слайда 81"/>
          <p:cNvSpPr txBox="1">
            <a:spLocks/>
          </p:cNvSpPr>
          <p:nvPr/>
        </p:nvSpPr>
        <p:spPr>
          <a:xfrm>
            <a:off x="8521189" y="6416207"/>
            <a:ext cx="446873" cy="200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18000" anchor="b" anchorCtr="0">
            <a:normAutofit fontScale="55000" lnSpcReduction="20000"/>
          </a:bodyPr>
          <a:lstStyle>
            <a:lvl1pPr defTabSz="410751">
              <a:spcBef>
                <a:spcPts val="0"/>
              </a:spcBef>
              <a:defRPr sz="2500" b="1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1pPr>
            <a:lvl2pPr indent="160729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2pPr>
            <a:lvl3pPr indent="321457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3pPr>
            <a:lvl4pPr indent="482186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4pPr>
            <a:lvl5pPr indent="642915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5pPr>
            <a:lvl6pPr indent="803643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indent="964372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indent="1125101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indent="1285829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r">
              <a:defRPr/>
            </a:pPr>
            <a:fld id="{185710F0-95CE-41ED-9A90-13AF48BDBFF5}" type="slidenum">
              <a:rPr lang="ru-RU" b="0" kern="0" smtClean="0"/>
              <a:pPr algn="r">
                <a:defRPr/>
              </a:pPr>
              <a:t>11</a:t>
            </a:fld>
            <a:endParaRPr lang="ru-RU" b="0" kern="0" dirty="0"/>
          </a:p>
        </p:txBody>
      </p:sp>
    </p:spTree>
    <p:extLst>
      <p:ext uri="{BB962C8B-B14F-4D97-AF65-F5344CB8AC3E}">
        <p14:creationId xmlns:p14="http://schemas.microsoft.com/office/powerpoint/2010/main" val="75466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797321" y="465356"/>
            <a:ext cx="6984597" cy="731396"/>
          </a:xfrm>
        </p:spPr>
        <p:txBody>
          <a:bodyPr/>
          <a:lstStyle/>
          <a:p>
            <a:pPr algn="l"/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Законодательная база, предписывающая создание эффективной и современной системы теплоснабжения</a:t>
            </a:r>
            <a:b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</a:br>
            <a:endParaRPr lang="ru-RU" sz="2400" dirty="0">
              <a:solidFill>
                <a:schemeClr val="bg2">
                  <a:lumMod val="50000"/>
                </a:schemeClr>
              </a:solidFill>
              <a:latin typeface="+mj-lt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5638577"/>
              </p:ext>
            </p:extLst>
          </p:nvPr>
        </p:nvGraphicFramePr>
        <p:xfrm>
          <a:off x="183087" y="1241284"/>
          <a:ext cx="8784975" cy="52120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0721"/>
                <a:gridCol w="3384376"/>
                <a:gridCol w="2739878"/>
              </a:tblGrid>
              <a:tr h="330562">
                <a:tc>
                  <a:txBody>
                    <a:bodyPr/>
                    <a:lstStyle/>
                    <a:p>
                      <a:pPr algn="l"/>
                      <a:r>
                        <a:rPr lang="ru-RU" sz="105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нициатива</a:t>
                      </a:r>
                      <a:endParaRPr lang="ru-RU" sz="105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Целевой результат </a:t>
                      </a:r>
                      <a:endParaRPr lang="ru-RU" sz="105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ормативный правовой</a:t>
                      </a:r>
                      <a:r>
                        <a:rPr lang="ru-RU" sz="105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акт, проект</a:t>
                      </a:r>
                      <a:endParaRPr lang="ru-RU" sz="105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</a:tr>
              <a:tr h="397851">
                <a:tc>
                  <a:txBody>
                    <a:bodyPr/>
                    <a:lstStyle/>
                    <a:p>
                      <a:pPr marL="0" marR="0" indent="0" algn="l" defTabSz="4107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нцессии в теплосети и водоканалах</a:t>
                      </a:r>
                      <a:endParaRPr lang="ru-RU" sz="10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ивлечение</a:t>
                      </a:r>
                      <a:r>
                        <a:rPr lang="ru-RU" sz="105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частных операторов (инвесторов)</a:t>
                      </a:r>
                      <a:endParaRPr lang="ru-RU" sz="10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107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ФЗ от 21.07.2005 г. №115-ФЗ </a:t>
                      </a:r>
                      <a:b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</a:b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«О концессионных соглашениях»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862011">
                <a:tc>
                  <a:txBody>
                    <a:bodyPr/>
                    <a:lstStyle/>
                    <a:p>
                      <a:pPr marL="0" marR="0" indent="0" algn="l" defTabSz="4107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Тотальный автоматизированный  учёт энергоресурсов, воды</a:t>
                      </a:r>
                      <a:endParaRPr lang="ru-RU" sz="1600" b="1" dirty="0">
                        <a:solidFill>
                          <a:schemeClr val="bg2">
                            <a:lumMod val="2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4107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Введение требований и сроков по оснащению приборами учета.  О</a:t>
                      </a:r>
                      <a:r>
                        <a:rPr lang="ru-RU" alt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тмена возможности не устанавливать приборы учета для объектов </a:t>
                      </a:r>
                      <a:br>
                        <a:rPr lang="ru-RU" alt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</a:br>
                      <a:r>
                        <a:rPr lang="ru-RU" alt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с максимальным объемом потребления тепловой энергии менее 0,2 Гкал/ч</a:t>
                      </a:r>
                      <a:endParaRPr lang="ru-RU" sz="10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107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ФЗ от 23.11.2009 г. №261-ФЗ </a:t>
                      </a:r>
                      <a:b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</a:b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«Об энергосбережении…», законопроект</a:t>
                      </a:r>
                      <a:endParaRPr lang="ru-RU" sz="10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26657">
                <a:tc>
                  <a:txBody>
                    <a:bodyPr/>
                    <a:lstStyle/>
                    <a:p>
                      <a:pPr marL="0" marR="0" indent="0" algn="l" defTabSz="4107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Энергосервис</a:t>
                      </a:r>
                      <a:endParaRPr lang="ru-RU" sz="1600" b="1" dirty="0">
                        <a:solidFill>
                          <a:schemeClr val="bg2">
                            <a:lumMod val="2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107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Внедрение механизма для проведения мероприятий по энергосбережению и энергоэффективности </a:t>
                      </a:r>
                      <a:endParaRPr lang="ru-RU" sz="10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107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ФЗ от 23.11.2009 г. №261-ФЗ «Об энергосбережении…», законопроект</a:t>
                      </a:r>
                      <a:endParaRPr lang="ru-RU" sz="10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7851">
                <a:tc>
                  <a:txBody>
                    <a:bodyPr/>
                    <a:lstStyle/>
                    <a:p>
                      <a:pPr marL="0" marR="0" indent="0" algn="l" defTabSz="4107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Утверждение схем теплоснабжения и выбор</a:t>
                      </a:r>
                      <a:r>
                        <a:rPr lang="ru-RU" sz="105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ЕТО</a:t>
                      </a:r>
                      <a:endParaRPr lang="ru-RU" sz="10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107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нвентаризация</a:t>
                      </a:r>
                      <a:r>
                        <a:rPr lang="ru-RU" sz="105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комплекса централизованного теплоснабжения</a:t>
                      </a:r>
                      <a:endParaRPr lang="ru-RU" sz="10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ФЗ от 27.07.2010 г. №</a:t>
                      </a:r>
                      <a:r>
                        <a:rPr lang="en-US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90</a:t>
                      </a: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ФЗ </a:t>
                      </a:r>
                      <a:b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</a:b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О теплоснабжении»</a:t>
                      </a:r>
                      <a:endParaRPr lang="ru-RU" sz="10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52571">
                <a:tc>
                  <a:txBody>
                    <a:bodyPr/>
                    <a:lstStyle/>
                    <a:p>
                      <a:pPr marL="0" marR="0" indent="0" algn="l" defTabSz="4107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Переход на «закрытую» схему горячего водоснабжения</a:t>
                      </a:r>
                      <a:endParaRPr lang="ru-RU" sz="1600" b="1" dirty="0">
                        <a:solidFill>
                          <a:schemeClr val="bg2">
                            <a:lumMod val="2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107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Экономичное теплопотребление и высокое качество горячего водоснабжения </a:t>
                      </a:r>
                      <a:endParaRPr lang="ru-RU" sz="10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107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ФЗ от 07.12.2011 №</a:t>
                      </a:r>
                      <a:r>
                        <a:rPr lang="en-US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417-</a:t>
                      </a: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ФЗ </a:t>
                      </a:r>
                      <a:b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</a:b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«О внесении изменений в отдельные законодательные акты…» </a:t>
                      </a:r>
                      <a:endParaRPr lang="ru-RU" sz="10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52571">
                <a:tc>
                  <a:txBody>
                    <a:bodyPr/>
                    <a:lstStyle/>
                    <a:p>
                      <a:pPr marL="0" marR="0" indent="0" algn="l" defTabSz="4107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олгосрочные тарифы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Гарантии возврата вложенных средств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ФЗ от 30.12.2012</a:t>
                      </a:r>
                      <a:r>
                        <a:rPr lang="ru-RU" sz="105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г. №291-ФЗ </a:t>
                      </a:r>
                      <a:br>
                        <a:rPr lang="ru-RU" sz="105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</a:br>
                      <a:r>
                        <a:rPr lang="ru-RU" sz="105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О внесении изменений в отдельные законодательные акты…» </a:t>
                      </a:r>
                      <a:endParaRPr lang="ru-RU" sz="10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52571">
                <a:tc>
                  <a:txBody>
                    <a:bodyPr/>
                    <a:lstStyle/>
                    <a:p>
                      <a:pPr algn="l" defTabSz="410751" eaLnBrk="1" hangingPunct="1"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Усиление системы надежности </a:t>
                      </a:r>
                      <a:b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</a:b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и качества теплоснабжения с локализаций ответственности на ЕТО </a:t>
                      </a:r>
                      <a:endParaRPr lang="ru-RU" altLang="ru-RU" sz="10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107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Экономическое стимулирование ЕТО </a:t>
                      </a:r>
                      <a:b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</a:b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к повышению энергоэффективности</a:t>
                      </a:r>
                      <a:r>
                        <a:rPr lang="en-US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 </a:t>
                      </a: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всего комплекса теплоснабжения</a:t>
                      </a:r>
                      <a:endParaRPr lang="ru-RU" sz="10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defTabSz="410751"/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Законопроект по целевой модели рынка тепловой энергии </a:t>
                      </a:r>
                      <a:endParaRPr lang="ru-RU" sz="10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54270">
                <a:tc>
                  <a:txBody>
                    <a:bodyPr/>
                    <a:lstStyle/>
                    <a:p>
                      <a:pPr marL="0" marR="0" indent="0" algn="l" defTabSz="41075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Справедливая альтернатива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410751"/>
                      <a:r>
                        <a:rPr lang="ru-RU" sz="105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Arial"/>
                        </a:rPr>
                        <a:t>Либерализация цен и отношений в сфере теплоснабжения и защита потребителей </a:t>
                      </a:r>
                      <a:endParaRPr lang="ru-RU" sz="1050" dirty="0">
                        <a:solidFill>
                          <a:schemeClr val="bg2">
                            <a:lumMod val="25000"/>
                          </a:schemeClr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ru-RU" sz="1100" b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  <a:sym typeface="Arial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0" name="Picture 4" descr="http://www.clipartbest.com/cliparts/7ca/oqo/7caoqonA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3183" y="4099044"/>
            <a:ext cx="210926" cy="194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http://www.clipartbest.com/cliparts/7ca/oqo/7caoqonA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6456" y="2082180"/>
            <a:ext cx="210926" cy="194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http://www.clipartbest.com/cliparts/7ca/oqo/7caoqonA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6456" y="3162940"/>
            <a:ext cx="210926" cy="194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79512" y="2010172"/>
            <a:ext cx="2662840" cy="1008112"/>
          </a:xfrm>
          <a:prstGeom prst="rect">
            <a:avLst/>
          </a:prstGeom>
          <a:noFill/>
          <a:ln w="38100" cap="flat">
            <a:solidFill>
              <a:srgbClr val="F15427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79512" y="3018284"/>
            <a:ext cx="2662840" cy="576064"/>
          </a:xfrm>
          <a:prstGeom prst="rect">
            <a:avLst/>
          </a:prstGeom>
          <a:noFill/>
          <a:ln w="38100" cap="flat">
            <a:solidFill>
              <a:srgbClr val="F15427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79512" y="4026396"/>
            <a:ext cx="2662840" cy="792088"/>
          </a:xfrm>
          <a:prstGeom prst="rect">
            <a:avLst/>
          </a:prstGeom>
          <a:noFill/>
          <a:ln w="38100" cap="flat">
            <a:solidFill>
              <a:srgbClr val="F15427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012050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1" name="Диаграмма 9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5347642"/>
              </p:ext>
            </p:extLst>
          </p:nvPr>
        </p:nvGraphicFramePr>
        <p:xfrm>
          <a:off x="2627784" y="3573016"/>
          <a:ext cx="2975629" cy="2181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2" name="Прямоугольник 71"/>
          <p:cNvSpPr>
            <a:spLocks noChangeArrowheads="1"/>
          </p:cNvSpPr>
          <p:nvPr/>
        </p:nvSpPr>
        <p:spPr bwMode="auto">
          <a:xfrm>
            <a:off x="2681536" y="1312312"/>
            <a:ext cx="2538536" cy="892552"/>
          </a:xfrm>
          <a:prstGeom prst="rect">
            <a:avLst/>
          </a:prstGeom>
          <a:solidFill>
            <a:srgbClr val="F15427"/>
          </a:solidFill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  <a:defRPr/>
            </a:pPr>
            <a:r>
              <a:rPr lang="ru-RU" sz="1300" b="1" dirty="0" smtClean="0">
                <a:solidFill>
                  <a:schemeClr val="bg1"/>
                </a:solidFill>
                <a:cs typeface="Tahoma" pitchFamily="34" charset="0"/>
              </a:rPr>
              <a:t>ФЗ «О теплоснабжении» предписывает осуществить закрытие схем водоразбора </a:t>
            </a:r>
            <a:br>
              <a:rPr lang="ru-RU" sz="1300" b="1" dirty="0" smtClean="0">
                <a:solidFill>
                  <a:schemeClr val="bg1"/>
                </a:solidFill>
                <a:cs typeface="Tahoma" pitchFamily="34" charset="0"/>
              </a:rPr>
            </a:br>
            <a:r>
              <a:rPr lang="ru-RU" sz="1300" b="1" dirty="0" smtClean="0">
                <a:solidFill>
                  <a:schemeClr val="bg1"/>
                </a:solidFill>
                <a:cs typeface="Tahoma" pitchFamily="34" charset="0"/>
              </a:rPr>
              <a:t>во всех СЦТ до 2022 г.</a:t>
            </a:r>
            <a:endParaRPr lang="ru-RU" sz="1300" dirty="0" smtClean="0">
              <a:solidFill>
                <a:schemeClr val="bg1"/>
              </a:solidFill>
              <a:cs typeface="Tahoma" pitchFamily="34" charset="0"/>
            </a:endParaRPr>
          </a:p>
        </p:txBody>
      </p:sp>
      <p:sp>
        <p:nvSpPr>
          <p:cNvPr id="73" name="Прямоугольник 72"/>
          <p:cNvSpPr>
            <a:spLocks noChangeArrowheads="1"/>
          </p:cNvSpPr>
          <p:nvPr/>
        </p:nvSpPr>
        <p:spPr bwMode="auto">
          <a:xfrm>
            <a:off x="2641129" y="2341329"/>
            <a:ext cx="2650951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8900">
              <a:spcBef>
                <a:spcPts val="400"/>
              </a:spcBef>
              <a:spcAft>
                <a:spcPts val="400"/>
              </a:spcAft>
              <a:defRPr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</a:rPr>
              <a:t>Инвестиции в мероприятия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по переводу на «закрытую»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</a:rPr>
              <a:t>схему горячего  водоснабжения только в регионах присутствия Т+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составят более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</a:rPr>
              <a:t>153 млрд рублей</a:t>
            </a:r>
            <a:r>
              <a:rPr lang="ru-RU" sz="1200" baseline="30000" dirty="0">
                <a:solidFill>
                  <a:schemeClr val="bg2">
                    <a:lumMod val="50000"/>
                  </a:schemeClr>
                </a:solidFill>
              </a:rPr>
              <a:t>*</a:t>
            </a:r>
            <a:endParaRPr lang="ru-RU" sz="1200" baseline="30000" dirty="0" smtClean="0">
              <a:solidFill>
                <a:schemeClr val="bg2">
                  <a:lumMod val="50000"/>
                </a:schemeClr>
              </a:solidFill>
              <a:cs typeface="Tahoma" pitchFamily="34" charset="0"/>
            </a:endParaRPr>
          </a:p>
        </p:txBody>
      </p:sp>
      <p:sp>
        <p:nvSpPr>
          <p:cNvPr id="77" name="Прямоугольник 76"/>
          <p:cNvSpPr>
            <a:spLocks noChangeArrowheads="1"/>
          </p:cNvSpPr>
          <p:nvPr/>
        </p:nvSpPr>
        <p:spPr bwMode="auto">
          <a:xfrm>
            <a:off x="5364088" y="2886035"/>
            <a:ext cx="320729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defRPr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cs typeface="Tahoma" pitchFamily="34" charset="0"/>
              </a:rPr>
              <a:t>ИТП как целостный объект должен быть предусмотрен в перечне работ, подпадающих под программу капитального ремонта</a:t>
            </a:r>
          </a:p>
        </p:txBody>
      </p:sp>
      <p:sp>
        <p:nvSpPr>
          <p:cNvPr id="16" name="Заголовок 2"/>
          <p:cNvSpPr txBox="1">
            <a:spLocks/>
          </p:cNvSpPr>
          <p:nvPr/>
        </p:nvSpPr>
        <p:spPr>
          <a:xfrm>
            <a:off x="1763688" y="188640"/>
            <a:ext cx="6718998" cy="731396"/>
          </a:xfrm>
          <a:prstGeom prst="rect">
            <a:avLst/>
          </a:prstGeom>
        </p:spPr>
        <p:txBody>
          <a:bodyPr>
            <a:noAutofit/>
          </a:bodyPr>
          <a:lstStyle>
            <a:lvl1pPr defTabSz="410751">
              <a:defRPr sz="3100" baseline="0">
                <a:solidFill>
                  <a:srgbClr val="525E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1pPr>
            <a:lvl2pPr indent="160729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indent="321457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indent="482186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indent="642915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indent="803643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indent="964372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indent="1125101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indent="1285829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defTabSz="584200" latinLnBrk="1" hangingPunct="0"/>
            <a:r>
              <a:rPr lang="ru-RU" sz="24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Системные проблемы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 </a:t>
            </a:r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/>
            </a:r>
            <a:b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</a:br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для </a:t>
            </a:r>
            <a:r>
              <a:rPr lang="ru-RU" sz="24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модернизации систем теплоснабжен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386140" y="5674022"/>
            <a:ext cx="3506340" cy="923330"/>
          </a:xfrm>
          <a:prstGeom prst="rect">
            <a:avLst/>
          </a:prstGeom>
          <a:ln w="3175">
            <a:noFill/>
          </a:ln>
        </p:spPr>
        <p:txBody>
          <a:bodyPr wrap="square">
            <a:spAutoFit/>
          </a:bodyPr>
          <a:lstStyle/>
          <a:p>
            <a:pPr algn="just"/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Tahoma" pitchFamily="34" charset="0"/>
              </a:rPr>
              <a:t>ИТП </a:t>
            </a:r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cs typeface="Tahoma" pitchFamily="34" charset="0"/>
              </a:rPr>
              <a:t>(индивидуальный тепловой пункт) – комплект оборудования, предназначенный для присоединения систем отопления, горячего водоснабжения и вентиляции здания к тепловой сети, позволяющий изменять температурный и гидравлический режимы теплоносителя, обеспечивать учет и регулирование расхода тепловой энергии и теплоносителя.</a:t>
            </a:r>
          </a:p>
        </p:txBody>
      </p:sp>
      <p:sp>
        <p:nvSpPr>
          <p:cNvPr id="140" name="Номер слайда 139"/>
          <p:cNvSpPr>
            <a:spLocks noGrp="1"/>
          </p:cNvSpPr>
          <p:nvPr>
            <p:ph type="sldNum" sz="quarter" idx="11"/>
          </p:nvPr>
        </p:nvSpPr>
        <p:spPr>
          <a:xfrm>
            <a:off x="8531297" y="6466547"/>
            <a:ext cx="446873" cy="200055"/>
          </a:xfrm>
        </p:spPr>
        <p:txBody>
          <a:bodyPr/>
          <a:lstStyle/>
          <a:p>
            <a:pPr>
              <a:defRPr/>
            </a:pPr>
            <a:fld id="{185710F0-95CE-41ED-9A90-13AF48BDBFF5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93" name="TextBox 92"/>
          <p:cNvSpPr txBox="1"/>
          <p:nvPr/>
        </p:nvSpPr>
        <p:spPr>
          <a:xfrm>
            <a:off x="2879812" y="5719960"/>
            <a:ext cx="2124236" cy="25648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R="0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sz="1000" b="1" dirty="0" smtClean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Всего: 153 млрд руб.</a:t>
            </a:r>
            <a:endParaRPr kumimoji="0" lang="ru-RU" sz="1000" b="1" i="0" u="none" strike="noStrike" cap="none" spc="0" normalizeH="0" baseline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771800" y="6166465"/>
            <a:ext cx="235138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indent="-85725">
              <a:tabLst>
                <a:tab pos="895350" algn="l"/>
              </a:tabLst>
            </a:pPr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</a:rPr>
              <a:t>* оценка по результатам   маркетингового исследования </a:t>
            </a:r>
            <a:endParaRPr lang="ru-RU" sz="1050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186" name="Прямая соединительная линия 185"/>
          <p:cNvCxnSpPr/>
          <p:nvPr/>
        </p:nvCxnSpPr>
        <p:spPr>
          <a:xfrm>
            <a:off x="5292080" y="2295782"/>
            <a:ext cx="0" cy="4373578"/>
          </a:xfrm>
          <a:prstGeom prst="line">
            <a:avLst/>
          </a:prstGeom>
          <a:noFill/>
          <a:ln w="3175" cap="flat">
            <a:solidFill>
              <a:schemeClr val="bg1">
                <a:lumMod val="50000"/>
              </a:schemeClr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88" name="Прямая соединительная линия 187"/>
          <p:cNvCxnSpPr/>
          <p:nvPr/>
        </p:nvCxnSpPr>
        <p:spPr>
          <a:xfrm>
            <a:off x="2627784" y="2243650"/>
            <a:ext cx="0" cy="4425710"/>
          </a:xfrm>
          <a:prstGeom prst="line">
            <a:avLst/>
          </a:prstGeom>
          <a:noFill/>
          <a:ln w="3175" cap="flat">
            <a:solidFill>
              <a:schemeClr val="bg1">
                <a:lumMod val="50000"/>
              </a:schemeClr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Прямоугольник 31"/>
          <p:cNvSpPr/>
          <p:nvPr/>
        </p:nvSpPr>
        <p:spPr>
          <a:xfrm>
            <a:off x="5364088" y="2227317"/>
            <a:ext cx="3652909" cy="6976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ts val="200"/>
              </a:spcBef>
              <a:buAutoNum type="arabicPeriod"/>
              <a:defRPr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cs typeface="Tahoma" pitchFamily="34" charset="0"/>
              </a:rPr>
              <a:t>Энергоэффективность</a:t>
            </a:r>
          </a:p>
          <a:p>
            <a:pPr marL="342900" indent="-342900">
              <a:spcBef>
                <a:spcPts val="200"/>
              </a:spcBef>
              <a:buAutoNum type="arabicPeriod"/>
              <a:defRPr/>
            </a:pPr>
            <a:r>
              <a:rPr lang="ru-RU" sz="1200" dirty="0">
                <a:solidFill>
                  <a:schemeClr val="bg2">
                    <a:lumMod val="50000"/>
                  </a:schemeClr>
                </a:solidFill>
                <a:cs typeface="Tahoma" pitchFamily="34" charset="0"/>
              </a:rPr>
              <a:t>З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cs typeface="Tahoma" pitchFamily="34" charset="0"/>
              </a:rPr>
              <a:t>акрытая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  <a:cs typeface="Tahoma" pitchFamily="34" charset="0"/>
              </a:rPr>
              <a:t>схема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cs typeface="Tahoma" pitchFamily="34" charset="0"/>
              </a:rPr>
              <a:t>теплоснабжения</a:t>
            </a:r>
          </a:p>
          <a:p>
            <a:pPr marL="342900" indent="-342900">
              <a:spcBef>
                <a:spcPts val="200"/>
              </a:spcBef>
              <a:buAutoNum type="arabicPeriod"/>
              <a:defRPr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cs typeface="Tahoma" pitchFamily="34" charset="0"/>
              </a:rPr>
              <a:t>Новое качество услуги теплоснабжения  </a:t>
            </a:r>
            <a:endParaRPr lang="ru-RU" sz="1200" dirty="0">
              <a:solidFill>
                <a:schemeClr val="bg2">
                  <a:lumMod val="50000"/>
                </a:schemeClr>
              </a:solidFill>
              <a:cs typeface="Tahoma" pitchFamily="34" charset="0"/>
            </a:endParaRPr>
          </a:p>
        </p:txBody>
      </p:sp>
      <p:grpSp>
        <p:nvGrpSpPr>
          <p:cNvPr id="411" name="Группа 410"/>
          <p:cNvGrpSpPr/>
          <p:nvPr/>
        </p:nvGrpSpPr>
        <p:grpSpPr>
          <a:xfrm>
            <a:off x="161256" y="1301859"/>
            <a:ext cx="2368077" cy="903005"/>
            <a:chOff x="161256" y="1340768"/>
            <a:chExt cx="2368077" cy="903005"/>
          </a:xfrm>
        </p:grpSpPr>
        <p:sp>
          <p:nvSpPr>
            <p:cNvPr id="336" name="Прямоугольник 335"/>
            <p:cNvSpPr>
              <a:spLocks noChangeArrowheads="1"/>
            </p:cNvSpPr>
            <p:nvPr/>
          </p:nvSpPr>
          <p:spPr bwMode="auto">
            <a:xfrm>
              <a:off x="161256" y="1340768"/>
              <a:ext cx="2368077" cy="903005"/>
            </a:xfrm>
            <a:prstGeom prst="rect">
              <a:avLst/>
            </a:prstGeom>
            <a:solidFill>
              <a:srgbClr val="F15427"/>
            </a:solidFill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  <a:defRPr/>
              </a:pPr>
              <a:endParaRPr lang="ru-RU" sz="1200" dirty="0" smtClean="0">
                <a:solidFill>
                  <a:schemeClr val="bg1"/>
                </a:solidFill>
                <a:cs typeface="Tahoma" pitchFamily="34" charset="0"/>
              </a:endParaRPr>
            </a:p>
          </p:txBody>
        </p:sp>
        <p:sp>
          <p:nvSpPr>
            <p:cNvPr id="190" name="Прямоугольник 189"/>
            <p:cNvSpPr>
              <a:spLocks noChangeArrowheads="1"/>
            </p:cNvSpPr>
            <p:nvPr/>
          </p:nvSpPr>
          <p:spPr bwMode="auto">
            <a:xfrm>
              <a:off x="305272" y="1407260"/>
              <a:ext cx="2178496" cy="692497"/>
            </a:xfrm>
            <a:prstGeom prst="rect">
              <a:avLst/>
            </a:prstGeom>
            <a:solidFill>
              <a:srgbClr val="F15427"/>
            </a:solidFill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  <a:defRPr/>
              </a:pPr>
              <a:r>
                <a:rPr lang="ru-RU" sz="1300" b="1" dirty="0" smtClean="0">
                  <a:solidFill>
                    <a:schemeClr val="bg1"/>
                  </a:solidFill>
                  <a:cs typeface="Tahoma" pitchFamily="34" charset="0"/>
                </a:rPr>
                <a:t>Недостатки </a:t>
              </a:r>
              <a:br>
                <a:rPr lang="ru-RU" sz="1300" b="1" dirty="0" smtClean="0">
                  <a:solidFill>
                    <a:schemeClr val="bg1"/>
                  </a:solidFill>
                  <a:cs typeface="Tahoma" pitchFamily="34" charset="0"/>
                </a:rPr>
              </a:br>
              <a:r>
                <a:rPr lang="ru-RU" sz="1300" b="1" dirty="0" smtClean="0">
                  <a:solidFill>
                    <a:schemeClr val="bg1"/>
                  </a:solidFill>
                  <a:cs typeface="Tahoma" pitchFamily="34" charset="0"/>
                </a:rPr>
                <a:t>открытой системы теплоснабжения </a:t>
              </a:r>
              <a:endParaRPr lang="ru-RU" sz="1300" dirty="0" smtClean="0">
                <a:solidFill>
                  <a:schemeClr val="bg1"/>
                </a:solidFill>
                <a:cs typeface="Tahoma" pitchFamily="34" charset="0"/>
              </a:endParaRPr>
            </a:p>
          </p:txBody>
        </p:sp>
      </p:grpSp>
      <p:sp>
        <p:nvSpPr>
          <p:cNvPr id="191" name="Прямоугольник 190"/>
          <p:cNvSpPr/>
          <p:nvPr/>
        </p:nvSpPr>
        <p:spPr bwMode="auto">
          <a:xfrm>
            <a:off x="7414268" y="4125673"/>
            <a:ext cx="617538" cy="917876"/>
          </a:xfrm>
          <a:prstGeom prst="rect">
            <a:avLst/>
          </a:prstGeom>
          <a:noFill/>
          <a:ln w="381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grpSp>
        <p:nvGrpSpPr>
          <p:cNvPr id="192" name="Группа 191"/>
          <p:cNvGrpSpPr/>
          <p:nvPr/>
        </p:nvGrpSpPr>
        <p:grpSpPr bwMode="auto">
          <a:xfrm rot="10800000">
            <a:off x="7721532" y="4255780"/>
            <a:ext cx="411795" cy="279160"/>
            <a:chOff x="3894355" y="1782919"/>
            <a:chExt cx="787931" cy="554607"/>
          </a:xfrm>
          <a:solidFill>
            <a:schemeClr val="bg1"/>
          </a:solidFill>
        </p:grpSpPr>
        <p:sp>
          <p:nvSpPr>
            <p:cNvPr id="193" name="Полилиния 192"/>
            <p:cNvSpPr/>
            <p:nvPr/>
          </p:nvSpPr>
          <p:spPr>
            <a:xfrm>
              <a:off x="3894355" y="1782919"/>
              <a:ext cx="765862" cy="133081"/>
            </a:xfrm>
            <a:custGeom>
              <a:avLst/>
              <a:gdLst>
                <a:gd name="connsiteX0" fmla="*/ 0 w 765862"/>
                <a:gd name="connsiteY0" fmla="*/ 8416 h 111806"/>
                <a:gd name="connsiteX1" fmla="*/ 659958 w 765862"/>
                <a:gd name="connsiteY1" fmla="*/ 8416 h 111806"/>
                <a:gd name="connsiteX2" fmla="*/ 699714 w 765862"/>
                <a:gd name="connsiteY2" fmla="*/ 95881 h 111806"/>
                <a:gd name="connsiteX3" fmla="*/ 15902 w 765862"/>
                <a:gd name="connsiteY3" fmla="*/ 111783 h 111806"/>
                <a:gd name="connsiteX4" fmla="*/ 15902 w 765862"/>
                <a:gd name="connsiteY4" fmla="*/ 111783 h 11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5862" h="111806">
                  <a:moveTo>
                    <a:pt x="0" y="8416"/>
                  </a:moveTo>
                  <a:cubicBezTo>
                    <a:pt x="271669" y="1127"/>
                    <a:pt x="543339" y="-6162"/>
                    <a:pt x="659958" y="8416"/>
                  </a:cubicBezTo>
                  <a:cubicBezTo>
                    <a:pt x="776577" y="22994"/>
                    <a:pt x="807057" y="78653"/>
                    <a:pt x="699714" y="95881"/>
                  </a:cubicBezTo>
                  <a:cubicBezTo>
                    <a:pt x="592371" y="113109"/>
                    <a:pt x="15902" y="111783"/>
                    <a:pt x="15902" y="111783"/>
                  </a:cubicBezTo>
                  <a:lnTo>
                    <a:pt x="15902" y="111783"/>
                  </a:lnTo>
                </a:path>
              </a:pathLst>
            </a:custGeom>
            <a:grpFill/>
            <a:ln>
              <a:solidFill>
                <a:srgbClr val="F1542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94" name="Полилиния 193"/>
            <p:cNvSpPr/>
            <p:nvPr/>
          </p:nvSpPr>
          <p:spPr>
            <a:xfrm>
              <a:off x="3901414" y="1944222"/>
              <a:ext cx="765862" cy="133081"/>
            </a:xfrm>
            <a:custGeom>
              <a:avLst/>
              <a:gdLst>
                <a:gd name="connsiteX0" fmla="*/ 0 w 765862"/>
                <a:gd name="connsiteY0" fmla="*/ 8416 h 111806"/>
                <a:gd name="connsiteX1" fmla="*/ 659958 w 765862"/>
                <a:gd name="connsiteY1" fmla="*/ 8416 h 111806"/>
                <a:gd name="connsiteX2" fmla="*/ 699714 w 765862"/>
                <a:gd name="connsiteY2" fmla="*/ 95881 h 111806"/>
                <a:gd name="connsiteX3" fmla="*/ 15902 w 765862"/>
                <a:gd name="connsiteY3" fmla="*/ 111783 h 111806"/>
                <a:gd name="connsiteX4" fmla="*/ 15902 w 765862"/>
                <a:gd name="connsiteY4" fmla="*/ 111783 h 11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5862" h="111806">
                  <a:moveTo>
                    <a:pt x="0" y="8416"/>
                  </a:moveTo>
                  <a:cubicBezTo>
                    <a:pt x="271669" y="1127"/>
                    <a:pt x="543339" y="-6162"/>
                    <a:pt x="659958" y="8416"/>
                  </a:cubicBezTo>
                  <a:cubicBezTo>
                    <a:pt x="776577" y="22994"/>
                    <a:pt x="807057" y="78653"/>
                    <a:pt x="699714" y="95881"/>
                  </a:cubicBezTo>
                  <a:cubicBezTo>
                    <a:pt x="592371" y="113109"/>
                    <a:pt x="15902" y="111783"/>
                    <a:pt x="15902" y="111783"/>
                  </a:cubicBezTo>
                  <a:lnTo>
                    <a:pt x="15902" y="111783"/>
                  </a:lnTo>
                </a:path>
              </a:pathLst>
            </a:custGeom>
            <a:grpFill/>
            <a:ln>
              <a:solidFill>
                <a:srgbClr val="F1542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95" name="Полилиния 194"/>
            <p:cNvSpPr/>
            <p:nvPr/>
          </p:nvSpPr>
          <p:spPr>
            <a:xfrm>
              <a:off x="3901414" y="2071364"/>
              <a:ext cx="765862" cy="133081"/>
            </a:xfrm>
            <a:custGeom>
              <a:avLst/>
              <a:gdLst>
                <a:gd name="connsiteX0" fmla="*/ 0 w 765862"/>
                <a:gd name="connsiteY0" fmla="*/ 8416 h 111806"/>
                <a:gd name="connsiteX1" fmla="*/ 659958 w 765862"/>
                <a:gd name="connsiteY1" fmla="*/ 8416 h 111806"/>
                <a:gd name="connsiteX2" fmla="*/ 699714 w 765862"/>
                <a:gd name="connsiteY2" fmla="*/ 95881 h 111806"/>
                <a:gd name="connsiteX3" fmla="*/ 15902 w 765862"/>
                <a:gd name="connsiteY3" fmla="*/ 111783 h 111806"/>
                <a:gd name="connsiteX4" fmla="*/ 15902 w 765862"/>
                <a:gd name="connsiteY4" fmla="*/ 111783 h 11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5862" h="111806">
                  <a:moveTo>
                    <a:pt x="0" y="8416"/>
                  </a:moveTo>
                  <a:cubicBezTo>
                    <a:pt x="271669" y="1127"/>
                    <a:pt x="543339" y="-6162"/>
                    <a:pt x="659958" y="8416"/>
                  </a:cubicBezTo>
                  <a:cubicBezTo>
                    <a:pt x="776577" y="22994"/>
                    <a:pt x="807057" y="78653"/>
                    <a:pt x="699714" y="95881"/>
                  </a:cubicBezTo>
                  <a:cubicBezTo>
                    <a:pt x="592371" y="113109"/>
                    <a:pt x="15902" y="111783"/>
                    <a:pt x="15902" y="111783"/>
                  </a:cubicBezTo>
                  <a:lnTo>
                    <a:pt x="15902" y="111783"/>
                  </a:lnTo>
                </a:path>
              </a:pathLst>
            </a:custGeom>
            <a:grpFill/>
            <a:ln>
              <a:solidFill>
                <a:srgbClr val="F1542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96" name="Полилиния 195"/>
            <p:cNvSpPr/>
            <p:nvPr/>
          </p:nvSpPr>
          <p:spPr>
            <a:xfrm>
              <a:off x="3916424" y="2204445"/>
              <a:ext cx="765862" cy="133081"/>
            </a:xfrm>
            <a:custGeom>
              <a:avLst/>
              <a:gdLst>
                <a:gd name="connsiteX0" fmla="*/ 0 w 765862"/>
                <a:gd name="connsiteY0" fmla="*/ 8416 h 111806"/>
                <a:gd name="connsiteX1" fmla="*/ 659958 w 765862"/>
                <a:gd name="connsiteY1" fmla="*/ 8416 h 111806"/>
                <a:gd name="connsiteX2" fmla="*/ 699714 w 765862"/>
                <a:gd name="connsiteY2" fmla="*/ 95881 h 111806"/>
                <a:gd name="connsiteX3" fmla="*/ 15902 w 765862"/>
                <a:gd name="connsiteY3" fmla="*/ 111783 h 111806"/>
                <a:gd name="connsiteX4" fmla="*/ 15902 w 765862"/>
                <a:gd name="connsiteY4" fmla="*/ 111783 h 11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5862" h="111806">
                  <a:moveTo>
                    <a:pt x="0" y="8416"/>
                  </a:moveTo>
                  <a:cubicBezTo>
                    <a:pt x="271669" y="1127"/>
                    <a:pt x="543339" y="-6162"/>
                    <a:pt x="659958" y="8416"/>
                  </a:cubicBezTo>
                  <a:cubicBezTo>
                    <a:pt x="776577" y="22994"/>
                    <a:pt x="807057" y="78653"/>
                    <a:pt x="699714" y="95881"/>
                  </a:cubicBezTo>
                  <a:cubicBezTo>
                    <a:pt x="592371" y="113109"/>
                    <a:pt x="15902" y="111783"/>
                    <a:pt x="15902" y="111783"/>
                  </a:cubicBezTo>
                  <a:lnTo>
                    <a:pt x="15902" y="111783"/>
                  </a:lnTo>
                </a:path>
              </a:pathLst>
            </a:custGeom>
            <a:grpFill/>
            <a:ln>
              <a:solidFill>
                <a:srgbClr val="F1542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</p:grpSp>
      <p:grpSp>
        <p:nvGrpSpPr>
          <p:cNvPr id="197" name="Группа 196"/>
          <p:cNvGrpSpPr/>
          <p:nvPr/>
        </p:nvGrpSpPr>
        <p:grpSpPr bwMode="auto">
          <a:xfrm rot="10800000">
            <a:off x="7761706" y="4632763"/>
            <a:ext cx="406528" cy="239077"/>
            <a:chOff x="3904433" y="1943422"/>
            <a:chExt cx="777853" cy="394104"/>
          </a:xfrm>
          <a:solidFill>
            <a:schemeClr val="bg1"/>
          </a:solidFill>
        </p:grpSpPr>
        <p:sp>
          <p:nvSpPr>
            <p:cNvPr id="198" name="Полилиния 197"/>
            <p:cNvSpPr/>
            <p:nvPr/>
          </p:nvSpPr>
          <p:spPr>
            <a:xfrm>
              <a:off x="3904433" y="1943422"/>
              <a:ext cx="765862" cy="133080"/>
            </a:xfrm>
            <a:custGeom>
              <a:avLst/>
              <a:gdLst>
                <a:gd name="connsiteX0" fmla="*/ 0 w 765862"/>
                <a:gd name="connsiteY0" fmla="*/ 8416 h 111806"/>
                <a:gd name="connsiteX1" fmla="*/ 659958 w 765862"/>
                <a:gd name="connsiteY1" fmla="*/ 8416 h 111806"/>
                <a:gd name="connsiteX2" fmla="*/ 699714 w 765862"/>
                <a:gd name="connsiteY2" fmla="*/ 95881 h 111806"/>
                <a:gd name="connsiteX3" fmla="*/ 15902 w 765862"/>
                <a:gd name="connsiteY3" fmla="*/ 111783 h 111806"/>
                <a:gd name="connsiteX4" fmla="*/ 15902 w 765862"/>
                <a:gd name="connsiteY4" fmla="*/ 111783 h 11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5862" h="111806">
                  <a:moveTo>
                    <a:pt x="0" y="8416"/>
                  </a:moveTo>
                  <a:cubicBezTo>
                    <a:pt x="271669" y="1127"/>
                    <a:pt x="543339" y="-6162"/>
                    <a:pt x="659958" y="8416"/>
                  </a:cubicBezTo>
                  <a:cubicBezTo>
                    <a:pt x="776577" y="22994"/>
                    <a:pt x="807057" y="78653"/>
                    <a:pt x="699714" y="95881"/>
                  </a:cubicBezTo>
                  <a:cubicBezTo>
                    <a:pt x="592371" y="113109"/>
                    <a:pt x="15902" y="111783"/>
                    <a:pt x="15902" y="111783"/>
                  </a:cubicBezTo>
                  <a:lnTo>
                    <a:pt x="15902" y="111783"/>
                  </a:lnTo>
                </a:path>
              </a:pathLst>
            </a:custGeom>
            <a:grpFill/>
            <a:ln>
              <a:solidFill>
                <a:srgbClr val="F1542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99" name="Полилиния 198"/>
            <p:cNvSpPr/>
            <p:nvPr/>
          </p:nvSpPr>
          <p:spPr>
            <a:xfrm>
              <a:off x="3911491" y="2076504"/>
              <a:ext cx="765862" cy="133080"/>
            </a:xfrm>
            <a:custGeom>
              <a:avLst/>
              <a:gdLst>
                <a:gd name="connsiteX0" fmla="*/ 0 w 765862"/>
                <a:gd name="connsiteY0" fmla="*/ 8416 h 111806"/>
                <a:gd name="connsiteX1" fmla="*/ 659958 w 765862"/>
                <a:gd name="connsiteY1" fmla="*/ 8416 h 111806"/>
                <a:gd name="connsiteX2" fmla="*/ 699714 w 765862"/>
                <a:gd name="connsiteY2" fmla="*/ 95881 h 111806"/>
                <a:gd name="connsiteX3" fmla="*/ 15902 w 765862"/>
                <a:gd name="connsiteY3" fmla="*/ 111783 h 111806"/>
                <a:gd name="connsiteX4" fmla="*/ 15902 w 765862"/>
                <a:gd name="connsiteY4" fmla="*/ 111783 h 11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5862" h="111806">
                  <a:moveTo>
                    <a:pt x="0" y="8416"/>
                  </a:moveTo>
                  <a:cubicBezTo>
                    <a:pt x="271669" y="1127"/>
                    <a:pt x="543339" y="-6162"/>
                    <a:pt x="659958" y="8416"/>
                  </a:cubicBezTo>
                  <a:cubicBezTo>
                    <a:pt x="776577" y="22994"/>
                    <a:pt x="807057" y="78653"/>
                    <a:pt x="699714" y="95881"/>
                  </a:cubicBezTo>
                  <a:cubicBezTo>
                    <a:pt x="592371" y="113109"/>
                    <a:pt x="15902" y="111783"/>
                    <a:pt x="15902" y="111783"/>
                  </a:cubicBezTo>
                  <a:lnTo>
                    <a:pt x="15902" y="111783"/>
                  </a:lnTo>
                </a:path>
              </a:pathLst>
            </a:custGeom>
            <a:grpFill/>
            <a:ln>
              <a:solidFill>
                <a:srgbClr val="F1542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200" name="Полилиния 199"/>
            <p:cNvSpPr/>
            <p:nvPr/>
          </p:nvSpPr>
          <p:spPr>
            <a:xfrm>
              <a:off x="3916424" y="2204445"/>
              <a:ext cx="765862" cy="133081"/>
            </a:xfrm>
            <a:custGeom>
              <a:avLst/>
              <a:gdLst>
                <a:gd name="connsiteX0" fmla="*/ 0 w 765862"/>
                <a:gd name="connsiteY0" fmla="*/ 8416 h 111806"/>
                <a:gd name="connsiteX1" fmla="*/ 659958 w 765862"/>
                <a:gd name="connsiteY1" fmla="*/ 8416 h 111806"/>
                <a:gd name="connsiteX2" fmla="*/ 699714 w 765862"/>
                <a:gd name="connsiteY2" fmla="*/ 95881 h 111806"/>
                <a:gd name="connsiteX3" fmla="*/ 15902 w 765862"/>
                <a:gd name="connsiteY3" fmla="*/ 111783 h 111806"/>
                <a:gd name="connsiteX4" fmla="*/ 15902 w 765862"/>
                <a:gd name="connsiteY4" fmla="*/ 111783 h 11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5862" h="111806">
                  <a:moveTo>
                    <a:pt x="0" y="8416"/>
                  </a:moveTo>
                  <a:cubicBezTo>
                    <a:pt x="271669" y="1127"/>
                    <a:pt x="543339" y="-6162"/>
                    <a:pt x="659958" y="8416"/>
                  </a:cubicBezTo>
                  <a:cubicBezTo>
                    <a:pt x="776577" y="22994"/>
                    <a:pt x="807057" y="78653"/>
                    <a:pt x="699714" y="95881"/>
                  </a:cubicBezTo>
                  <a:cubicBezTo>
                    <a:pt x="592371" y="113109"/>
                    <a:pt x="15902" y="111783"/>
                    <a:pt x="15902" y="111783"/>
                  </a:cubicBezTo>
                  <a:lnTo>
                    <a:pt x="15902" y="111783"/>
                  </a:lnTo>
                </a:path>
              </a:pathLst>
            </a:custGeom>
            <a:grpFill/>
            <a:ln>
              <a:solidFill>
                <a:srgbClr val="F1542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</p:grpSp>
      <p:cxnSp>
        <p:nvCxnSpPr>
          <p:cNvPr id="201" name="Прямая соединительная линия 200"/>
          <p:cNvCxnSpPr/>
          <p:nvPr/>
        </p:nvCxnSpPr>
        <p:spPr bwMode="auto">
          <a:xfrm>
            <a:off x="6436670" y="4247788"/>
            <a:ext cx="811903" cy="0"/>
          </a:xfrm>
          <a:prstGeom prst="line">
            <a:avLst/>
          </a:prstGeom>
          <a:ln w="38100"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Прямая соединительная линия 201"/>
          <p:cNvCxnSpPr/>
          <p:nvPr/>
        </p:nvCxnSpPr>
        <p:spPr bwMode="auto">
          <a:xfrm flipV="1">
            <a:off x="8083499" y="4251930"/>
            <a:ext cx="171704" cy="4004"/>
          </a:xfrm>
          <a:prstGeom prst="line">
            <a:avLst/>
          </a:prstGeom>
          <a:ln w="19050">
            <a:solidFill>
              <a:srgbClr val="F15427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9973" y="3920763"/>
            <a:ext cx="215900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9973" y="4150950"/>
            <a:ext cx="21590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5" name="Прямая соединительная линия 204"/>
          <p:cNvCxnSpPr/>
          <p:nvPr/>
        </p:nvCxnSpPr>
        <p:spPr bwMode="auto">
          <a:xfrm>
            <a:off x="8707461" y="3949338"/>
            <a:ext cx="107950" cy="0"/>
          </a:xfrm>
          <a:prstGeom prst="line">
            <a:avLst/>
          </a:prstGeom>
          <a:ln w="15875">
            <a:solidFill>
              <a:srgbClr val="F15427"/>
            </a:solidFill>
            <a:headEnd type="triangle" w="sm" len="sm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Прямая соединительная линия 205"/>
          <p:cNvCxnSpPr/>
          <p:nvPr/>
        </p:nvCxnSpPr>
        <p:spPr bwMode="auto">
          <a:xfrm>
            <a:off x="8707461" y="4176350"/>
            <a:ext cx="107950" cy="0"/>
          </a:xfrm>
          <a:prstGeom prst="line">
            <a:avLst/>
          </a:prstGeom>
          <a:ln w="15875">
            <a:solidFill>
              <a:srgbClr val="F15427"/>
            </a:solidFill>
            <a:headEnd type="triangle" w="sm" len="sm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Прямая соединительная линия 206"/>
          <p:cNvCxnSpPr/>
          <p:nvPr/>
        </p:nvCxnSpPr>
        <p:spPr bwMode="auto">
          <a:xfrm>
            <a:off x="8815411" y="3874725"/>
            <a:ext cx="0" cy="520700"/>
          </a:xfrm>
          <a:prstGeom prst="line">
            <a:avLst/>
          </a:prstGeom>
          <a:ln w="19050">
            <a:solidFill>
              <a:srgbClr val="F154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Прямая соединительная линия 207"/>
          <p:cNvCxnSpPr/>
          <p:nvPr/>
        </p:nvCxnSpPr>
        <p:spPr bwMode="auto">
          <a:xfrm flipH="1" flipV="1">
            <a:off x="8250045" y="3874725"/>
            <a:ext cx="565366" cy="2753"/>
          </a:xfrm>
          <a:prstGeom prst="line">
            <a:avLst/>
          </a:prstGeom>
          <a:ln w="19050">
            <a:solidFill>
              <a:srgbClr val="F154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Прямая соединительная линия 208"/>
          <p:cNvCxnSpPr/>
          <p:nvPr/>
        </p:nvCxnSpPr>
        <p:spPr bwMode="auto">
          <a:xfrm>
            <a:off x="8127013" y="4529211"/>
            <a:ext cx="246063" cy="0"/>
          </a:xfrm>
          <a:prstGeom prst="line">
            <a:avLst/>
          </a:prstGeom>
          <a:ln w="19050">
            <a:solidFill>
              <a:srgbClr val="F15427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Прямая соединительная линия 209"/>
          <p:cNvCxnSpPr/>
          <p:nvPr/>
        </p:nvCxnSpPr>
        <p:spPr bwMode="auto">
          <a:xfrm>
            <a:off x="8364561" y="4247788"/>
            <a:ext cx="125412" cy="0"/>
          </a:xfrm>
          <a:prstGeom prst="line">
            <a:avLst/>
          </a:prstGeom>
          <a:ln w="19050">
            <a:solidFill>
              <a:srgbClr val="F15427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Прямая соединительная линия 210"/>
          <p:cNvCxnSpPr/>
          <p:nvPr/>
        </p:nvCxnSpPr>
        <p:spPr bwMode="auto">
          <a:xfrm>
            <a:off x="8364561" y="4031888"/>
            <a:ext cx="1811" cy="503053"/>
          </a:xfrm>
          <a:prstGeom prst="line">
            <a:avLst/>
          </a:prstGeom>
          <a:ln w="19050">
            <a:solidFill>
              <a:srgbClr val="F154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Прямая соединительная линия 211"/>
          <p:cNvCxnSpPr/>
          <p:nvPr/>
        </p:nvCxnSpPr>
        <p:spPr bwMode="auto">
          <a:xfrm flipV="1">
            <a:off x="8250044" y="3868461"/>
            <a:ext cx="0" cy="383469"/>
          </a:xfrm>
          <a:prstGeom prst="line">
            <a:avLst/>
          </a:prstGeom>
          <a:ln w="19050">
            <a:solidFill>
              <a:srgbClr val="F154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Прямая соединительная линия 212"/>
          <p:cNvCxnSpPr>
            <a:endCxn id="200" idx="3"/>
          </p:cNvCxnSpPr>
          <p:nvPr/>
        </p:nvCxnSpPr>
        <p:spPr bwMode="auto">
          <a:xfrm flipH="1">
            <a:off x="8153423" y="4632608"/>
            <a:ext cx="646113" cy="0"/>
          </a:xfrm>
          <a:prstGeom prst="line">
            <a:avLst/>
          </a:prstGeom>
          <a:ln w="19050">
            <a:solidFill>
              <a:srgbClr val="F154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Прямая соединительная линия 213"/>
          <p:cNvCxnSpPr/>
          <p:nvPr/>
        </p:nvCxnSpPr>
        <p:spPr bwMode="auto">
          <a:xfrm>
            <a:off x="8691586" y="4755986"/>
            <a:ext cx="107950" cy="0"/>
          </a:xfrm>
          <a:prstGeom prst="line">
            <a:avLst/>
          </a:prstGeom>
          <a:ln w="19050">
            <a:solidFill>
              <a:srgbClr val="F15427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Прямая соединительная линия 214"/>
          <p:cNvCxnSpPr/>
          <p:nvPr/>
        </p:nvCxnSpPr>
        <p:spPr bwMode="auto">
          <a:xfrm>
            <a:off x="8691586" y="5044018"/>
            <a:ext cx="107950" cy="0"/>
          </a:xfrm>
          <a:prstGeom prst="line">
            <a:avLst/>
          </a:prstGeom>
          <a:ln w="19050">
            <a:solidFill>
              <a:srgbClr val="F15427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Прямая соединительная линия 215"/>
          <p:cNvCxnSpPr/>
          <p:nvPr/>
        </p:nvCxnSpPr>
        <p:spPr bwMode="auto">
          <a:xfrm>
            <a:off x="8691586" y="5260042"/>
            <a:ext cx="107950" cy="0"/>
          </a:xfrm>
          <a:prstGeom prst="line">
            <a:avLst/>
          </a:prstGeom>
          <a:ln w="19050">
            <a:solidFill>
              <a:srgbClr val="F15427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Прямая соединительная линия 216"/>
          <p:cNvCxnSpPr/>
          <p:nvPr/>
        </p:nvCxnSpPr>
        <p:spPr bwMode="auto">
          <a:xfrm>
            <a:off x="8799536" y="4632608"/>
            <a:ext cx="0" cy="627434"/>
          </a:xfrm>
          <a:prstGeom prst="line">
            <a:avLst/>
          </a:prstGeom>
          <a:ln w="19050">
            <a:solidFill>
              <a:srgbClr val="F154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Прямая соединительная линия 217"/>
          <p:cNvCxnSpPr/>
          <p:nvPr/>
        </p:nvCxnSpPr>
        <p:spPr bwMode="auto">
          <a:xfrm flipV="1">
            <a:off x="7959748" y="4861133"/>
            <a:ext cx="0" cy="542925"/>
          </a:xfrm>
          <a:prstGeom prst="line">
            <a:avLst/>
          </a:prstGeom>
          <a:ln>
            <a:solidFill>
              <a:srgbClr val="0365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Овал 218"/>
          <p:cNvSpPr/>
          <p:nvPr/>
        </p:nvSpPr>
        <p:spPr bwMode="auto">
          <a:xfrm>
            <a:off x="7866086" y="4323988"/>
            <a:ext cx="144462" cy="142875"/>
          </a:xfrm>
          <a:prstGeom prst="ellipse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b="1" dirty="0">
                <a:solidFill>
                  <a:srgbClr val="002060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220" name="Овал 219"/>
          <p:cNvSpPr/>
          <p:nvPr/>
        </p:nvSpPr>
        <p:spPr bwMode="auto">
          <a:xfrm>
            <a:off x="7891486" y="4682020"/>
            <a:ext cx="139700" cy="144463"/>
          </a:xfrm>
          <a:prstGeom prst="ellipse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b="1" dirty="0">
                <a:solidFill>
                  <a:srgbClr val="002060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227" name="Овал 226"/>
          <p:cNvSpPr/>
          <p:nvPr/>
        </p:nvSpPr>
        <p:spPr bwMode="auto">
          <a:xfrm>
            <a:off x="7899895" y="5189175"/>
            <a:ext cx="142875" cy="142875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b="1" dirty="0">
                <a:solidFill>
                  <a:srgbClr val="002060"/>
                </a:solidFill>
                <a:cs typeface="Arial" pitchFamily="34" charset="0"/>
              </a:rPr>
              <a:t>4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5473298" y="3700069"/>
            <a:ext cx="970910" cy="1181932"/>
            <a:chOff x="4932040" y="3748608"/>
            <a:chExt cx="970910" cy="1181932"/>
          </a:xfrm>
        </p:grpSpPr>
        <p:grpSp>
          <p:nvGrpSpPr>
            <p:cNvPr id="221" name="Группа 8"/>
            <p:cNvGrpSpPr/>
            <p:nvPr/>
          </p:nvGrpSpPr>
          <p:grpSpPr bwMode="auto">
            <a:xfrm>
              <a:off x="4932040" y="3748608"/>
              <a:ext cx="970910" cy="1181932"/>
              <a:chOff x="862917" y="3396299"/>
              <a:chExt cx="1574731" cy="1275377"/>
            </a:xfrm>
            <a:solidFill>
              <a:schemeClr val="accent5">
                <a:lumMod val="60000"/>
                <a:lumOff val="40000"/>
              </a:schemeClr>
            </a:solidFill>
          </p:grpSpPr>
          <p:sp>
            <p:nvSpPr>
              <p:cNvPr id="222" name="Прямоугольник 221"/>
              <p:cNvSpPr/>
              <p:nvPr/>
            </p:nvSpPr>
            <p:spPr>
              <a:xfrm>
                <a:off x="862917" y="3956531"/>
                <a:ext cx="1574731" cy="715145"/>
              </a:xfrm>
              <a:prstGeom prst="rect">
                <a:avLst/>
              </a:prstGeom>
              <a:solidFill>
                <a:srgbClr val="F15427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defRPr/>
                </a:pPr>
                <a:endParaRPr lang="ru-RU" sz="12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3" name="Трапеция 222"/>
              <p:cNvSpPr/>
              <p:nvPr/>
            </p:nvSpPr>
            <p:spPr>
              <a:xfrm>
                <a:off x="1150949" y="3485844"/>
                <a:ext cx="169514" cy="628069"/>
              </a:xfrm>
              <a:prstGeom prst="trapezoid">
                <a:avLst/>
              </a:prstGeom>
              <a:solidFill>
                <a:srgbClr val="F15427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defRPr/>
                </a:pPr>
                <a:endParaRPr lang="ru-RU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4" name="Трапеция 223"/>
              <p:cNvSpPr/>
              <p:nvPr/>
            </p:nvSpPr>
            <p:spPr>
              <a:xfrm>
                <a:off x="1655006" y="3675910"/>
                <a:ext cx="561456" cy="561244"/>
              </a:xfrm>
              <a:prstGeom prst="trapezoid">
                <a:avLst/>
              </a:prstGeom>
              <a:solidFill>
                <a:srgbClr val="F15427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defRPr/>
                </a:pPr>
                <a:endParaRPr lang="ru-RU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5" name="Трапеция 224"/>
              <p:cNvSpPr/>
              <p:nvPr/>
            </p:nvSpPr>
            <p:spPr>
              <a:xfrm>
                <a:off x="981435" y="3396299"/>
                <a:ext cx="169514" cy="639912"/>
              </a:xfrm>
              <a:prstGeom prst="trapezoid">
                <a:avLst/>
              </a:prstGeom>
              <a:solidFill>
                <a:srgbClr val="F15427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defRPr/>
                </a:pPr>
                <a:endParaRPr lang="ru-RU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6" name="Трапеция 225"/>
              <p:cNvSpPr/>
              <p:nvPr/>
            </p:nvSpPr>
            <p:spPr>
              <a:xfrm>
                <a:off x="1318705" y="3532753"/>
                <a:ext cx="547335" cy="561244"/>
              </a:xfrm>
              <a:prstGeom prst="trapezoid">
                <a:avLst/>
              </a:prstGeom>
              <a:solidFill>
                <a:srgbClr val="F15427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defRPr/>
                </a:pPr>
                <a:endParaRPr lang="ru-RU" sz="12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28" name="Прямоугольник 228"/>
            <p:cNvSpPr>
              <a:spLocks noChangeArrowheads="1"/>
            </p:cNvSpPr>
            <p:nvPr/>
          </p:nvSpPr>
          <p:spPr bwMode="auto">
            <a:xfrm>
              <a:off x="5100597" y="4413643"/>
              <a:ext cx="606556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Aft>
                  <a:spcPts val="600"/>
                </a:spcAft>
                <a:buBlip>
                  <a:blip r:embed="rId4"/>
                </a:buBlip>
                <a:defRPr sz="24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1pPr>
              <a:lvl2pPr marL="742950" indent="-285750" algn="just" eaLnBrk="0" hangingPunct="0">
                <a:spcAft>
                  <a:spcPts val="600"/>
                </a:spcAft>
                <a:buBlip>
                  <a:blip r:embed="rId5"/>
                </a:buBlip>
                <a:defRPr sz="22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Blip>
                  <a:blip r:embed="rId6"/>
                </a:buBlip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FontTx/>
                <a:buNone/>
              </a:pPr>
              <a:r>
                <a:rPr lang="ru-RU" altLang="ru-RU" sz="1600" b="1" dirty="0">
                  <a:solidFill>
                    <a:srgbClr val="FFFFFF"/>
                  </a:solidFill>
                  <a:latin typeface="+mn-lt"/>
                  <a:cs typeface="Arial" charset="0"/>
                </a:rPr>
                <a:t>ТЭЦ</a:t>
              </a:r>
            </a:p>
          </p:txBody>
        </p:sp>
      </p:grpSp>
      <p:sp>
        <p:nvSpPr>
          <p:cNvPr id="229" name="TextBox 228"/>
          <p:cNvSpPr txBox="1"/>
          <p:nvPr/>
        </p:nvSpPr>
        <p:spPr bwMode="auto">
          <a:xfrm>
            <a:off x="7397155" y="3872145"/>
            <a:ext cx="657050" cy="30777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i="1" dirty="0">
                <a:solidFill>
                  <a:schemeClr val="bg1"/>
                </a:solidFill>
              </a:rPr>
              <a:t>ИТП</a:t>
            </a:r>
          </a:p>
        </p:txBody>
      </p:sp>
      <p:cxnSp>
        <p:nvCxnSpPr>
          <p:cNvPr id="230" name="Прямая соединительная линия 229"/>
          <p:cNvCxnSpPr/>
          <p:nvPr/>
        </p:nvCxnSpPr>
        <p:spPr bwMode="auto">
          <a:xfrm>
            <a:off x="8433652" y="4803835"/>
            <a:ext cx="1513" cy="527746"/>
          </a:xfrm>
          <a:prstGeom prst="line">
            <a:avLst/>
          </a:prstGeom>
          <a:ln w="19050">
            <a:solidFill>
              <a:srgbClr val="F154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Прямая соединительная линия 230"/>
          <p:cNvCxnSpPr/>
          <p:nvPr/>
        </p:nvCxnSpPr>
        <p:spPr bwMode="auto">
          <a:xfrm>
            <a:off x="8431197" y="4806613"/>
            <a:ext cx="107950" cy="0"/>
          </a:xfrm>
          <a:prstGeom prst="line">
            <a:avLst/>
          </a:prstGeom>
          <a:ln w="19050">
            <a:solidFill>
              <a:srgbClr val="F15427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Прямая соединительная линия 231"/>
          <p:cNvCxnSpPr/>
          <p:nvPr/>
        </p:nvCxnSpPr>
        <p:spPr bwMode="auto">
          <a:xfrm>
            <a:off x="8435165" y="5043549"/>
            <a:ext cx="107950" cy="0"/>
          </a:xfrm>
          <a:prstGeom prst="line">
            <a:avLst/>
          </a:prstGeom>
          <a:ln w="19050">
            <a:solidFill>
              <a:srgbClr val="F15427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Прямая соединительная линия 232"/>
          <p:cNvCxnSpPr/>
          <p:nvPr/>
        </p:nvCxnSpPr>
        <p:spPr bwMode="auto">
          <a:xfrm>
            <a:off x="8170847" y="4868124"/>
            <a:ext cx="252412" cy="0"/>
          </a:xfrm>
          <a:prstGeom prst="line">
            <a:avLst/>
          </a:prstGeom>
          <a:ln w="19050">
            <a:solidFill>
              <a:srgbClr val="F15427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Прямоугольник 233"/>
          <p:cNvSpPr/>
          <p:nvPr/>
        </p:nvSpPr>
        <p:spPr>
          <a:xfrm>
            <a:off x="7248573" y="3789039"/>
            <a:ext cx="1693863" cy="1691899"/>
          </a:xfrm>
          <a:prstGeom prst="rect">
            <a:avLst/>
          </a:prstGeom>
          <a:noFill/>
          <a:ln w="317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pic>
        <p:nvPicPr>
          <p:cNvPr id="235" name="Picture 5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2229" y="4672307"/>
            <a:ext cx="204183" cy="227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6" name="Прямая со стрелкой 235"/>
          <p:cNvCxnSpPr/>
          <p:nvPr/>
        </p:nvCxnSpPr>
        <p:spPr bwMode="auto">
          <a:xfrm flipH="1">
            <a:off x="6444208" y="4815184"/>
            <a:ext cx="804366" cy="0"/>
          </a:xfrm>
          <a:prstGeom prst="straightConnector1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Прямая соединительная линия 236"/>
          <p:cNvCxnSpPr/>
          <p:nvPr/>
        </p:nvCxnSpPr>
        <p:spPr bwMode="auto">
          <a:xfrm>
            <a:off x="8366372" y="4035906"/>
            <a:ext cx="125412" cy="0"/>
          </a:xfrm>
          <a:prstGeom prst="line">
            <a:avLst/>
          </a:prstGeom>
          <a:ln w="19050">
            <a:solidFill>
              <a:srgbClr val="F15427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8" name="Группа 237"/>
          <p:cNvGrpSpPr/>
          <p:nvPr/>
        </p:nvGrpSpPr>
        <p:grpSpPr>
          <a:xfrm>
            <a:off x="7268837" y="4239091"/>
            <a:ext cx="389150" cy="570994"/>
            <a:chOff x="7218881" y="4353005"/>
            <a:chExt cx="389150" cy="570994"/>
          </a:xfrm>
        </p:grpSpPr>
        <p:grpSp>
          <p:nvGrpSpPr>
            <p:cNvPr id="239" name="Группа 238"/>
            <p:cNvGrpSpPr/>
            <p:nvPr/>
          </p:nvGrpSpPr>
          <p:grpSpPr bwMode="auto">
            <a:xfrm>
              <a:off x="7218881" y="4353005"/>
              <a:ext cx="389150" cy="570994"/>
              <a:chOff x="3880235" y="1397334"/>
              <a:chExt cx="772921" cy="393090"/>
            </a:xfrm>
            <a:solidFill>
              <a:schemeClr val="bg1"/>
            </a:solidFill>
          </p:grpSpPr>
          <p:sp>
            <p:nvSpPr>
              <p:cNvPr id="241" name="Полилиния 240"/>
              <p:cNvSpPr/>
              <p:nvPr/>
            </p:nvSpPr>
            <p:spPr>
              <a:xfrm>
                <a:off x="3880235" y="1397334"/>
                <a:ext cx="765862" cy="102278"/>
              </a:xfrm>
              <a:custGeom>
                <a:avLst/>
                <a:gdLst>
                  <a:gd name="connsiteX0" fmla="*/ 0 w 765862"/>
                  <a:gd name="connsiteY0" fmla="*/ 8416 h 111806"/>
                  <a:gd name="connsiteX1" fmla="*/ 659958 w 765862"/>
                  <a:gd name="connsiteY1" fmla="*/ 8416 h 111806"/>
                  <a:gd name="connsiteX2" fmla="*/ 699714 w 765862"/>
                  <a:gd name="connsiteY2" fmla="*/ 95881 h 111806"/>
                  <a:gd name="connsiteX3" fmla="*/ 15902 w 765862"/>
                  <a:gd name="connsiteY3" fmla="*/ 111783 h 111806"/>
                  <a:gd name="connsiteX4" fmla="*/ 15902 w 765862"/>
                  <a:gd name="connsiteY4" fmla="*/ 111783 h 111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5862" h="111806">
                    <a:moveTo>
                      <a:pt x="0" y="8416"/>
                    </a:moveTo>
                    <a:cubicBezTo>
                      <a:pt x="271669" y="1127"/>
                      <a:pt x="543339" y="-6162"/>
                      <a:pt x="659958" y="8416"/>
                    </a:cubicBezTo>
                    <a:cubicBezTo>
                      <a:pt x="776577" y="22994"/>
                      <a:pt x="807057" y="78653"/>
                      <a:pt x="699714" y="95881"/>
                    </a:cubicBezTo>
                    <a:cubicBezTo>
                      <a:pt x="592371" y="113109"/>
                      <a:pt x="15902" y="111783"/>
                      <a:pt x="15902" y="111783"/>
                    </a:cubicBezTo>
                    <a:lnTo>
                      <a:pt x="15902" y="111783"/>
                    </a:lnTo>
                  </a:path>
                </a:pathLst>
              </a:custGeom>
              <a:grpFill/>
              <a:ln>
                <a:solidFill>
                  <a:srgbClr val="C8250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 dirty="0"/>
              </a:p>
            </p:txBody>
          </p:sp>
          <p:sp>
            <p:nvSpPr>
              <p:cNvPr id="242" name="Полилиния 241"/>
              <p:cNvSpPr/>
              <p:nvPr/>
            </p:nvSpPr>
            <p:spPr>
              <a:xfrm>
                <a:off x="3880235" y="1495430"/>
                <a:ext cx="765862" cy="98369"/>
              </a:xfrm>
              <a:custGeom>
                <a:avLst/>
                <a:gdLst>
                  <a:gd name="connsiteX0" fmla="*/ 0 w 765862"/>
                  <a:gd name="connsiteY0" fmla="*/ 8416 h 111806"/>
                  <a:gd name="connsiteX1" fmla="*/ 659958 w 765862"/>
                  <a:gd name="connsiteY1" fmla="*/ 8416 h 111806"/>
                  <a:gd name="connsiteX2" fmla="*/ 699714 w 765862"/>
                  <a:gd name="connsiteY2" fmla="*/ 95881 h 111806"/>
                  <a:gd name="connsiteX3" fmla="*/ 15902 w 765862"/>
                  <a:gd name="connsiteY3" fmla="*/ 111783 h 111806"/>
                  <a:gd name="connsiteX4" fmla="*/ 15902 w 765862"/>
                  <a:gd name="connsiteY4" fmla="*/ 111783 h 111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5862" h="111806">
                    <a:moveTo>
                      <a:pt x="0" y="8416"/>
                    </a:moveTo>
                    <a:cubicBezTo>
                      <a:pt x="271669" y="1127"/>
                      <a:pt x="543339" y="-6162"/>
                      <a:pt x="659958" y="8416"/>
                    </a:cubicBezTo>
                    <a:cubicBezTo>
                      <a:pt x="776577" y="22994"/>
                      <a:pt x="807057" y="78653"/>
                      <a:pt x="699714" y="95881"/>
                    </a:cubicBezTo>
                    <a:cubicBezTo>
                      <a:pt x="592371" y="113109"/>
                      <a:pt x="15902" y="111783"/>
                      <a:pt x="15902" y="111783"/>
                    </a:cubicBezTo>
                    <a:lnTo>
                      <a:pt x="15902" y="111783"/>
                    </a:lnTo>
                  </a:path>
                </a:pathLst>
              </a:custGeom>
              <a:grpFill/>
              <a:ln>
                <a:solidFill>
                  <a:srgbClr val="C8250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 dirty="0"/>
              </a:p>
            </p:txBody>
          </p:sp>
          <p:sp>
            <p:nvSpPr>
              <p:cNvPr id="243" name="Полилиния 242"/>
              <p:cNvSpPr/>
              <p:nvPr/>
            </p:nvSpPr>
            <p:spPr>
              <a:xfrm>
                <a:off x="3887294" y="1691931"/>
                <a:ext cx="765862" cy="98493"/>
              </a:xfrm>
              <a:custGeom>
                <a:avLst/>
                <a:gdLst>
                  <a:gd name="connsiteX0" fmla="*/ 0 w 765862"/>
                  <a:gd name="connsiteY0" fmla="*/ 8416 h 111806"/>
                  <a:gd name="connsiteX1" fmla="*/ 659958 w 765862"/>
                  <a:gd name="connsiteY1" fmla="*/ 8416 h 111806"/>
                  <a:gd name="connsiteX2" fmla="*/ 699714 w 765862"/>
                  <a:gd name="connsiteY2" fmla="*/ 95881 h 111806"/>
                  <a:gd name="connsiteX3" fmla="*/ 15902 w 765862"/>
                  <a:gd name="connsiteY3" fmla="*/ 111783 h 111806"/>
                  <a:gd name="connsiteX4" fmla="*/ 15902 w 765862"/>
                  <a:gd name="connsiteY4" fmla="*/ 111783 h 111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5862" h="111806">
                    <a:moveTo>
                      <a:pt x="0" y="8416"/>
                    </a:moveTo>
                    <a:cubicBezTo>
                      <a:pt x="271669" y="1127"/>
                      <a:pt x="543339" y="-6162"/>
                      <a:pt x="659958" y="8416"/>
                    </a:cubicBezTo>
                    <a:cubicBezTo>
                      <a:pt x="776577" y="22994"/>
                      <a:pt x="807057" y="78653"/>
                      <a:pt x="699714" y="95881"/>
                    </a:cubicBezTo>
                    <a:cubicBezTo>
                      <a:pt x="592371" y="113109"/>
                      <a:pt x="15902" y="111783"/>
                      <a:pt x="15902" y="111783"/>
                    </a:cubicBezTo>
                    <a:lnTo>
                      <a:pt x="15902" y="111783"/>
                    </a:lnTo>
                  </a:path>
                </a:pathLst>
              </a:custGeom>
              <a:grpFill/>
              <a:ln>
                <a:solidFill>
                  <a:srgbClr val="C8250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 dirty="0"/>
              </a:p>
            </p:txBody>
          </p:sp>
        </p:grpSp>
        <p:sp>
          <p:nvSpPr>
            <p:cNvPr id="240" name="Полилиния 239"/>
            <p:cNvSpPr/>
            <p:nvPr/>
          </p:nvSpPr>
          <p:spPr bwMode="auto">
            <a:xfrm>
              <a:off x="7218881" y="4630945"/>
              <a:ext cx="385596" cy="148794"/>
            </a:xfrm>
            <a:custGeom>
              <a:avLst/>
              <a:gdLst>
                <a:gd name="connsiteX0" fmla="*/ 0 w 765862"/>
                <a:gd name="connsiteY0" fmla="*/ 8416 h 111806"/>
                <a:gd name="connsiteX1" fmla="*/ 659958 w 765862"/>
                <a:gd name="connsiteY1" fmla="*/ 8416 h 111806"/>
                <a:gd name="connsiteX2" fmla="*/ 699714 w 765862"/>
                <a:gd name="connsiteY2" fmla="*/ 95881 h 111806"/>
                <a:gd name="connsiteX3" fmla="*/ 15902 w 765862"/>
                <a:gd name="connsiteY3" fmla="*/ 111783 h 111806"/>
                <a:gd name="connsiteX4" fmla="*/ 15902 w 765862"/>
                <a:gd name="connsiteY4" fmla="*/ 111783 h 11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5862" h="111806">
                  <a:moveTo>
                    <a:pt x="0" y="8416"/>
                  </a:moveTo>
                  <a:cubicBezTo>
                    <a:pt x="271669" y="1127"/>
                    <a:pt x="543339" y="-6162"/>
                    <a:pt x="659958" y="8416"/>
                  </a:cubicBezTo>
                  <a:cubicBezTo>
                    <a:pt x="776577" y="22994"/>
                    <a:pt x="807057" y="78653"/>
                    <a:pt x="699714" y="95881"/>
                  </a:cubicBezTo>
                  <a:cubicBezTo>
                    <a:pt x="592371" y="113109"/>
                    <a:pt x="15902" y="111783"/>
                    <a:pt x="15902" y="111783"/>
                  </a:cubicBezTo>
                  <a:lnTo>
                    <a:pt x="15902" y="111783"/>
                  </a:lnTo>
                </a:path>
              </a:pathLst>
            </a:custGeom>
            <a:solidFill>
              <a:schemeClr val="bg1"/>
            </a:solidFill>
            <a:ln>
              <a:solidFill>
                <a:srgbClr val="C8250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</p:grpSp>
      <p:pic>
        <p:nvPicPr>
          <p:cNvPr id="24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9973" y="4375001"/>
            <a:ext cx="21590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5" name="Прямая соединительная линия 244"/>
          <p:cNvCxnSpPr/>
          <p:nvPr/>
        </p:nvCxnSpPr>
        <p:spPr bwMode="auto">
          <a:xfrm>
            <a:off x="8370946" y="4523608"/>
            <a:ext cx="125412" cy="0"/>
          </a:xfrm>
          <a:prstGeom prst="line">
            <a:avLst/>
          </a:prstGeom>
          <a:ln w="19050">
            <a:solidFill>
              <a:srgbClr val="F15427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Прямая соединительная линия 245"/>
          <p:cNvCxnSpPr/>
          <p:nvPr/>
        </p:nvCxnSpPr>
        <p:spPr bwMode="auto">
          <a:xfrm>
            <a:off x="8705873" y="4395946"/>
            <a:ext cx="107950" cy="0"/>
          </a:xfrm>
          <a:prstGeom prst="line">
            <a:avLst/>
          </a:prstGeom>
          <a:ln w="15875">
            <a:solidFill>
              <a:srgbClr val="F15427"/>
            </a:solidFill>
            <a:headEnd type="triangle" w="sm" len="sm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7" name="Picture 5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9988" y="4936748"/>
            <a:ext cx="204183" cy="227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8" name="Picture 5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9880" y="5197755"/>
            <a:ext cx="204183" cy="227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9" name="Прямая соединительная линия 248"/>
          <p:cNvCxnSpPr/>
          <p:nvPr/>
        </p:nvCxnSpPr>
        <p:spPr bwMode="auto">
          <a:xfrm>
            <a:off x="8434372" y="5331581"/>
            <a:ext cx="107950" cy="0"/>
          </a:xfrm>
          <a:prstGeom prst="line">
            <a:avLst/>
          </a:prstGeom>
          <a:ln w="19050">
            <a:solidFill>
              <a:srgbClr val="F15427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0" name="Овал 249"/>
          <p:cNvSpPr/>
          <p:nvPr/>
        </p:nvSpPr>
        <p:spPr bwMode="auto">
          <a:xfrm>
            <a:off x="7357813" y="4467508"/>
            <a:ext cx="144463" cy="144462"/>
          </a:xfrm>
          <a:prstGeom prst="ellipse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b="1" dirty="0">
                <a:solidFill>
                  <a:srgbClr val="002060"/>
                </a:solidFill>
                <a:cs typeface="Arial" pitchFamily="34" charset="0"/>
              </a:rPr>
              <a:t>1</a:t>
            </a:r>
          </a:p>
        </p:txBody>
      </p:sp>
      <p:grpSp>
        <p:nvGrpSpPr>
          <p:cNvPr id="251" name="Группа 250"/>
          <p:cNvGrpSpPr/>
          <p:nvPr/>
        </p:nvGrpSpPr>
        <p:grpSpPr>
          <a:xfrm>
            <a:off x="5480006" y="4908493"/>
            <a:ext cx="2460880" cy="752754"/>
            <a:chOff x="4903940" y="4869171"/>
            <a:chExt cx="2460880" cy="767949"/>
          </a:xfrm>
        </p:grpSpPr>
        <p:grpSp>
          <p:nvGrpSpPr>
            <p:cNvPr id="252" name="Группа 160"/>
            <p:cNvGrpSpPr>
              <a:grpSpLocks/>
            </p:cNvGrpSpPr>
            <p:nvPr/>
          </p:nvGrpSpPr>
          <p:grpSpPr bwMode="auto">
            <a:xfrm>
              <a:off x="4903940" y="4869171"/>
              <a:ext cx="2188338" cy="483648"/>
              <a:chOff x="6816646" y="5147222"/>
              <a:chExt cx="1825314" cy="483467"/>
            </a:xfrm>
          </p:grpSpPr>
          <p:sp>
            <p:nvSpPr>
              <p:cNvPr id="258" name="TextBox 40"/>
              <p:cNvSpPr txBox="1">
                <a:spLocks noChangeArrowheads="1"/>
              </p:cNvSpPr>
              <p:nvPr/>
            </p:nvSpPr>
            <p:spPr bwMode="auto">
              <a:xfrm>
                <a:off x="6962128" y="5147222"/>
                <a:ext cx="1679832" cy="3384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spcAft>
                    <a:spcPts val="600"/>
                  </a:spcAft>
                  <a:buBlip>
                    <a:blip r:embed="rId4"/>
                  </a:buBlip>
                  <a:defRPr sz="24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1pPr>
                <a:lvl2pPr marL="742950" indent="-285750" algn="just" eaLnBrk="0" hangingPunct="0">
                  <a:spcAft>
                    <a:spcPts val="600"/>
                  </a:spcAft>
                  <a:buBlip>
                    <a:blip r:embed="rId5"/>
                  </a:buBlip>
                  <a:defRPr sz="22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2pPr>
                <a:lvl3pPr marL="1143000" indent="-228600" eaLnBrk="0" hangingPunct="0">
                  <a:spcAft>
                    <a:spcPts val="600"/>
                  </a:spcAft>
                  <a:buBlip>
                    <a:blip r:embed="rId6"/>
                  </a:buBlip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charset="0"/>
                  <a:buChar char="–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9pPr>
              </a:lstStyle>
              <a:p>
                <a:pPr eaLnBrk="1" hangingPunct="1">
                  <a:spcAft>
                    <a:spcPct val="0"/>
                  </a:spcAft>
                  <a:buFontTx/>
                  <a:buNone/>
                </a:pPr>
                <a:r>
                  <a:rPr lang="ru-RU" altLang="ru-RU" sz="800" dirty="0">
                    <a:latin typeface="+mn-lt"/>
                    <a:ea typeface="Tahoma" panose="020B0604030504040204" pitchFamily="34" charset="0"/>
                  </a:rPr>
                  <a:t>Контур центрального </a:t>
                </a:r>
                <a:r>
                  <a:rPr lang="ru-RU" altLang="ru-RU" sz="800" dirty="0" smtClean="0">
                    <a:latin typeface="+mn-lt"/>
                    <a:ea typeface="Tahoma" panose="020B0604030504040204" pitchFamily="34" charset="0"/>
                  </a:rPr>
                  <a:t/>
                </a:r>
                <a:br>
                  <a:rPr lang="ru-RU" altLang="ru-RU" sz="800" dirty="0" smtClean="0">
                    <a:latin typeface="+mn-lt"/>
                    <a:ea typeface="Tahoma" panose="020B0604030504040204" pitchFamily="34" charset="0"/>
                  </a:rPr>
                </a:br>
                <a:r>
                  <a:rPr lang="ru-RU" altLang="ru-RU" sz="800" dirty="0" smtClean="0">
                    <a:latin typeface="+mn-lt"/>
                    <a:ea typeface="Tahoma" panose="020B0604030504040204" pitchFamily="34" charset="0"/>
                  </a:rPr>
                  <a:t>теплоснабжения</a:t>
                </a:r>
                <a:endParaRPr lang="ru-RU" altLang="ru-RU" sz="800" dirty="0">
                  <a:latin typeface="+mn-lt"/>
                  <a:ea typeface="Tahoma" panose="020B0604030504040204" pitchFamily="34" charset="0"/>
                </a:endParaRPr>
              </a:p>
            </p:txBody>
          </p:sp>
          <p:sp>
            <p:nvSpPr>
              <p:cNvPr id="259" name="TextBox 43"/>
              <p:cNvSpPr txBox="1">
                <a:spLocks noChangeArrowheads="1"/>
              </p:cNvSpPr>
              <p:nvPr/>
            </p:nvSpPr>
            <p:spPr bwMode="auto">
              <a:xfrm>
                <a:off x="6962128" y="5415325"/>
                <a:ext cx="1619770" cy="2153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spcAft>
                    <a:spcPts val="600"/>
                  </a:spcAft>
                  <a:buBlip>
                    <a:blip r:embed="rId4"/>
                  </a:buBlip>
                  <a:defRPr sz="24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1pPr>
                <a:lvl2pPr marL="742950" indent="-285750" algn="just" eaLnBrk="0" hangingPunct="0">
                  <a:spcAft>
                    <a:spcPts val="600"/>
                  </a:spcAft>
                  <a:buBlip>
                    <a:blip r:embed="rId5"/>
                  </a:buBlip>
                  <a:defRPr sz="22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2pPr>
                <a:lvl3pPr marL="1143000" indent="-228600" eaLnBrk="0" hangingPunct="0">
                  <a:spcAft>
                    <a:spcPts val="600"/>
                  </a:spcAft>
                  <a:buBlip>
                    <a:blip r:embed="rId6"/>
                  </a:buBlip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charset="0"/>
                  <a:buChar char="–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9pPr>
              </a:lstStyle>
              <a:p>
                <a:pPr eaLnBrk="1" hangingPunct="1">
                  <a:spcAft>
                    <a:spcPct val="0"/>
                  </a:spcAft>
                  <a:buFontTx/>
                  <a:buNone/>
                </a:pPr>
                <a:r>
                  <a:rPr lang="ru-RU" altLang="ru-RU" sz="800" dirty="0">
                    <a:latin typeface="+mn-lt"/>
                    <a:ea typeface="Tahoma" panose="020B0604030504040204" pitchFamily="34" charset="0"/>
                  </a:rPr>
                  <a:t>Контур отопления дома</a:t>
                </a:r>
              </a:p>
            </p:txBody>
          </p:sp>
          <p:sp>
            <p:nvSpPr>
              <p:cNvPr id="260" name="Овал 259"/>
              <p:cNvSpPr/>
              <p:nvPr/>
            </p:nvSpPr>
            <p:spPr>
              <a:xfrm>
                <a:off x="6818210" y="5209111"/>
                <a:ext cx="122295" cy="144409"/>
              </a:xfrm>
              <a:prstGeom prst="ellipse">
                <a:avLst/>
              </a:prstGeom>
              <a:noFill/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1000" b="1" dirty="0">
                    <a:solidFill>
                      <a:srgbClr val="002060"/>
                    </a:solidFill>
                    <a:cs typeface="Arial" pitchFamily="34" charset="0"/>
                  </a:rPr>
                  <a:t>1</a:t>
                </a:r>
              </a:p>
            </p:txBody>
          </p:sp>
          <p:sp>
            <p:nvSpPr>
              <p:cNvPr id="261" name="Овал 260"/>
              <p:cNvSpPr/>
              <p:nvPr/>
            </p:nvSpPr>
            <p:spPr>
              <a:xfrm>
                <a:off x="6816646" y="5400230"/>
                <a:ext cx="122295" cy="14440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1000" b="1" dirty="0">
                    <a:solidFill>
                      <a:srgbClr val="002060"/>
                    </a:solidFill>
                    <a:cs typeface="Arial" pitchFamily="34" charset="0"/>
                  </a:rPr>
                  <a:t>2</a:t>
                </a:r>
              </a:p>
            </p:txBody>
          </p:sp>
        </p:grpSp>
        <p:grpSp>
          <p:nvGrpSpPr>
            <p:cNvPr id="253" name="Группа 252"/>
            <p:cNvGrpSpPr/>
            <p:nvPr/>
          </p:nvGrpSpPr>
          <p:grpSpPr>
            <a:xfrm>
              <a:off x="4913188" y="5283372"/>
              <a:ext cx="2451632" cy="353748"/>
              <a:chOff x="6594296" y="5400159"/>
              <a:chExt cx="2451632" cy="353748"/>
            </a:xfrm>
          </p:grpSpPr>
          <p:sp>
            <p:nvSpPr>
              <p:cNvPr id="254" name="TextBox 44"/>
              <p:cNvSpPr txBox="1">
                <a:spLocks noChangeArrowheads="1"/>
              </p:cNvSpPr>
              <p:nvPr/>
            </p:nvSpPr>
            <p:spPr bwMode="auto">
              <a:xfrm>
                <a:off x="6753058" y="5400159"/>
                <a:ext cx="1553925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spcAft>
                    <a:spcPts val="600"/>
                  </a:spcAft>
                  <a:buBlip>
                    <a:blip r:embed="rId4"/>
                  </a:buBlip>
                  <a:defRPr sz="24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1pPr>
                <a:lvl2pPr marL="742950" indent="-285750" algn="just" eaLnBrk="0" hangingPunct="0">
                  <a:spcAft>
                    <a:spcPts val="600"/>
                  </a:spcAft>
                  <a:buBlip>
                    <a:blip r:embed="rId5"/>
                  </a:buBlip>
                  <a:defRPr sz="22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2pPr>
                <a:lvl3pPr marL="1143000" indent="-228600" eaLnBrk="0" hangingPunct="0">
                  <a:spcAft>
                    <a:spcPts val="600"/>
                  </a:spcAft>
                  <a:buBlip>
                    <a:blip r:embed="rId6"/>
                  </a:buBlip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charset="0"/>
                  <a:buChar char="–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9pPr>
              </a:lstStyle>
              <a:p>
                <a:pPr eaLnBrk="1" hangingPunct="1">
                  <a:spcAft>
                    <a:spcPct val="0"/>
                  </a:spcAft>
                  <a:buFontTx/>
                  <a:buNone/>
                </a:pPr>
                <a:r>
                  <a:rPr lang="ru-RU" altLang="ru-RU" sz="800" dirty="0" smtClean="0">
                    <a:latin typeface="+mn-lt"/>
                    <a:ea typeface="Tahoma" panose="020B0604030504040204" pitchFamily="34" charset="0"/>
                  </a:rPr>
                  <a:t>Горячая </a:t>
                </a:r>
              </a:p>
              <a:p>
                <a:pPr eaLnBrk="1" hangingPunct="1">
                  <a:spcAft>
                    <a:spcPct val="0"/>
                  </a:spcAft>
                  <a:buFontTx/>
                  <a:buNone/>
                </a:pPr>
                <a:r>
                  <a:rPr lang="ru-RU" altLang="ru-RU" sz="800" dirty="0" smtClean="0">
                    <a:latin typeface="+mn-lt"/>
                    <a:ea typeface="Tahoma" panose="020B0604030504040204" pitchFamily="34" charset="0"/>
                  </a:rPr>
                  <a:t>вода</a:t>
                </a:r>
                <a:endParaRPr lang="ru-RU" altLang="ru-RU" sz="800" dirty="0">
                  <a:latin typeface="+mn-lt"/>
                  <a:ea typeface="Tahoma" panose="020B0604030504040204" pitchFamily="34" charset="0"/>
                </a:endParaRPr>
              </a:p>
            </p:txBody>
          </p:sp>
          <p:sp>
            <p:nvSpPr>
              <p:cNvPr id="255" name="Овал 254"/>
              <p:cNvSpPr/>
              <p:nvPr/>
            </p:nvSpPr>
            <p:spPr bwMode="auto">
              <a:xfrm>
                <a:off x="6594296" y="5469121"/>
                <a:ext cx="148052" cy="14446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1000" b="1" dirty="0">
                    <a:solidFill>
                      <a:srgbClr val="002060"/>
                    </a:solidFill>
                    <a:cs typeface="Arial" pitchFamily="34" charset="0"/>
                  </a:rPr>
                  <a:t>3</a:t>
                </a:r>
              </a:p>
            </p:txBody>
          </p:sp>
          <p:sp>
            <p:nvSpPr>
              <p:cNvPr id="256" name="Овал 255"/>
              <p:cNvSpPr/>
              <p:nvPr/>
            </p:nvSpPr>
            <p:spPr bwMode="auto">
              <a:xfrm>
                <a:off x="7353453" y="5474773"/>
                <a:ext cx="145317" cy="14446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1000" b="1" dirty="0">
                    <a:solidFill>
                      <a:srgbClr val="002060"/>
                    </a:solidFill>
                    <a:cs typeface="Arial" pitchFamily="34" charset="0"/>
                  </a:rPr>
                  <a:t>4</a:t>
                </a:r>
              </a:p>
            </p:txBody>
          </p:sp>
          <p:sp>
            <p:nvSpPr>
              <p:cNvPr id="257" name="TextBox 200"/>
              <p:cNvSpPr txBox="1">
                <a:spLocks noChangeArrowheads="1"/>
              </p:cNvSpPr>
              <p:nvPr/>
            </p:nvSpPr>
            <p:spPr bwMode="auto">
              <a:xfrm>
                <a:off x="7492003" y="5415352"/>
                <a:ext cx="1553925" cy="3385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spcAft>
                    <a:spcPts val="600"/>
                  </a:spcAft>
                  <a:buBlip>
                    <a:blip r:embed="rId4"/>
                  </a:buBlip>
                  <a:defRPr sz="24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1pPr>
                <a:lvl2pPr marL="742950" indent="-285750" algn="just" eaLnBrk="0" hangingPunct="0">
                  <a:spcAft>
                    <a:spcPts val="600"/>
                  </a:spcAft>
                  <a:buBlip>
                    <a:blip r:embed="rId5"/>
                  </a:buBlip>
                  <a:defRPr sz="22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2pPr>
                <a:lvl3pPr marL="1143000" indent="-228600" eaLnBrk="0" hangingPunct="0">
                  <a:spcAft>
                    <a:spcPts val="600"/>
                  </a:spcAft>
                  <a:buBlip>
                    <a:blip r:embed="rId6"/>
                  </a:buBlip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charset="0"/>
                  <a:buChar char="–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»"/>
                  <a:defRPr sz="200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defRPr>
                </a:lvl9pPr>
              </a:lstStyle>
              <a:p>
                <a:pPr eaLnBrk="1" hangingPunct="1">
                  <a:spcAft>
                    <a:spcPct val="0"/>
                  </a:spcAft>
                  <a:buFontTx/>
                  <a:buNone/>
                </a:pPr>
                <a:r>
                  <a:rPr lang="ru-RU" altLang="ru-RU" sz="800" dirty="0" smtClean="0">
                    <a:latin typeface="+mn-lt"/>
                    <a:ea typeface="Tahoma" panose="020B0604030504040204" pitchFamily="34" charset="0"/>
                  </a:rPr>
                  <a:t>Холодная </a:t>
                </a:r>
                <a:br>
                  <a:rPr lang="ru-RU" altLang="ru-RU" sz="800" dirty="0" smtClean="0">
                    <a:latin typeface="+mn-lt"/>
                    <a:ea typeface="Tahoma" panose="020B0604030504040204" pitchFamily="34" charset="0"/>
                  </a:rPr>
                </a:br>
                <a:r>
                  <a:rPr lang="ru-RU" altLang="ru-RU" sz="800" dirty="0" smtClean="0">
                    <a:latin typeface="+mn-lt"/>
                    <a:ea typeface="Tahoma" panose="020B0604030504040204" pitchFamily="34" charset="0"/>
                  </a:rPr>
                  <a:t>вода</a:t>
                </a:r>
                <a:endParaRPr lang="ru-RU" altLang="ru-RU" sz="800" dirty="0">
                  <a:latin typeface="+mn-lt"/>
                  <a:ea typeface="Tahoma" panose="020B0604030504040204" pitchFamily="34" charset="0"/>
                </a:endParaRPr>
              </a:p>
            </p:txBody>
          </p:sp>
        </p:grpSp>
      </p:grpSp>
      <p:sp>
        <p:nvSpPr>
          <p:cNvPr id="262" name="Равнобедренный треугольник 261"/>
          <p:cNvSpPr/>
          <p:nvPr/>
        </p:nvSpPr>
        <p:spPr>
          <a:xfrm>
            <a:off x="7106666" y="3501008"/>
            <a:ext cx="2001838" cy="322263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335" name="Прямоугольник 334"/>
          <p:cNvSpPr>
            <a:spLocks noChangeArrowheads="1"/>
          </p:cNvSpPr>
          <p:nvPr/>
        </p:nvSpPr>
        <p:spPr bwMode="auto">
          <a:xfrm>
            <a:off x="5365963" y="1373867"/>
            <a:ext cx="3651034" cy="830997"/>
          </a:xfrm>
          <a:prstGeom prst="rect">
            <a:avLst/>
          </a:prstGeom>
          <a:solidFill>
            <a:srgbClr val="F15427"/>
          </a:solidFill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  <a:defRPr/>
            </a:pPr>
            <a:endParaRPr lang="ru-RU" sz="1200" dirty="0" smtClean="0">
              <a:solidFill>
                <a:schemeClr val="bg1"/>
              </a:solidFill>
              <a:cs typeface="Tahoma" pitchFamily="34" charset="0"/>
            </a:endParaRPr>
          </a:p>
        </p:txBody>
      </p:sp>
      <p:sp>
        <p:nvSpPr>
          <p:cNvPr id="75" name="Прямоугольник 74"/>
          <p:cNvSpPr>
            <a:spLocks noChangeArrowheads="1"/>
          </p:cNvSpPr>
          <p:nvPr/>
        </p:nvSpPr>
        <p:spPr bwMode="auto">
          <a:xfrm>
            <a:off x="5364088" y="1312312"/>
            <a:ext cx="3650356" cy="892552"/>
          </a:xfrm>
          <a:prstGeom prst="rect">
            <a:avLst/>
          </a:prstGeom>
          <a:solidFill>
            <a:srgbClr val="F15427"/>
          </a:solidFill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  <a:defRPr/>
            </a:pPr>
            <a:r>
              <a:rPr lang="ru-RU" sz="1300" b="1" dirty="0" smtClean="0">
                <a:solidFill>
                  <a:schemeClr val="bg1"/>
                </a:solidFill>
                <a:cs typeface="Tahoma" pitchFamily="34" charset="0"/>
              </a:rPr>
              <a:t>ИТП - важнейший элемент инфраструктуры дома, затрагивающий теплоснабжение, ГВС, ХВС, </a:t>
            </a:r>
            <a:br>
              <a:rPr lang="ru-RU" sz="1300" b="1" dirty="0" smtClean="0">
                <a:solidFill>
                  <a:schemeClr val="bg1"/>
                </a:solidFill>
                <a:cs typeface="Tahoma" pitchFamily="34" charset="0"/>
              </a:rPr>
            </a:br>
            <a:r>
              <a:rPr lang="ru-RU" sz="1300" b="1" dirty="0" smtClean="0">
                <a:solidFill>
                  <a:schemeClr val="bg1"/>
                </a:solidFill>
                <a:cs typeface="Tahoma" pitchFamily="34" charset="0"/>
              </a:rPr>
              <a:t>вентиляцию и учёт</a:t>
            </a:r>
          </a:p>
        </p:txBody>
      </p:sp>
      <p:sp>
        <p:nvSpPr>
          <p:cNvPr id="410" name="Прямоугольник 409"/>
          <p:cNvSpPr>
            <a:spLocks noChangeArrowheads="1"/>
          </p:cNvSpPr>
          <p:nvPr/>
        </p:nvSpPr>
        <p:spPr bwMode="auto">
          <a:xfrm>
            <a:off x="0" y="2307644"/>
            <a:ext cx="2627784" cy="378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603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Горячая вода и отопление</a:t>
            </a:r>
            <a:br>
              <a:rPr lang="ru-RU" sz="12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из одной трубы</a:t>
            </a:r>
          </a:p>
          <a:p>
            <a:pPr marL="2603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</a:rPr>
              <a:t>Низкое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качество горячего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</a:rPr>
              <a:t>водоснабжения</a:t>
            </a:r>
            <a:endParaRPr lang="ru-RU" sz="1200" dirty="0">
              <a:solidFill>
                <a:schemeClr val="bg2">
                  <a:lumMod val="50000"/>
                </a:schemeClr>
              </a:solidFill>
            </a:endParaRPr>
          </a:p>
          <a:p>
            <a:pPr marL="2603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Сложная и затратная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</a:rPr>
              <a:t>химочистка и водоподготовка на ТЭЦ</a:t>
            </a:r>
            <a:endParaRPr lang="ru-RU" sz="1200" dirty="0">
              <a:solidFill>
                <a:schemeClr val="bg2">
                  <a:lumMod val="50000"/>
                </a:schemeClr>
              </a:solidFill>
            </a:endParaRPr>
          </a:p>
          <a:p>
            <a:pPr marL="2603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</a:rPr>
              <a:t>Химочищенная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горячая вода выливается в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</a:rPr>
              <a:t>краны</a:t>
            </a:r>
          </a:p>
          <a:p>
            <a:pPr marL="260350" indent="-1714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Ц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</a:rPr>
              <a:t>ентрализованное р</a:t>
            </a:r>
            <a:r>
              <a:rPr lang="ru-RU" sz="1200" kern="0" dirty="0" smtClean="0">
                <a:solidFill>
                  <a:schemeClr val="bg2">
                    <a:lumMod val="50000"/>
                  </a:schemeClr>
                </a:solidFill>
              </a:rPr>
              <a:t>егулирование </a:t>
            </a:r>
            <a:r>
              <a:rPr lang="ru-RU" sz="1200" kern="0" dirty="0">
                <a:solidFill>
                  <a:schemeClr val="bg2">
                    <a:lumMod val="50000"/>
                  </a:schemeClr>
                </a:solidFill>
              </a:rPr>
              <a:t>отпуска теплоты </a:t>
            </a:r>
            <a:r>
              <a:rPr lang="ru-RU" sz="1200" kern="0" dirty="0" smtClean="0">
                <a:solidFill>
                  <a:schemeClr val="bg2">
                    <a:lumMod val="50000"/>
                  </a:schemeClr>
                </a:solidFill>
              </a:rPr>
              <a:t>(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</a:rPr>
              <a:t>на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</a:rPr>
              <a:t>источниках тепла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</a:rPr>
              <a:t>) </a:t>
            </a:r>
            <a:r>
              <a:rPr lang="ru-RU" sz="1200" kern="0" dirty="0" smtClean="0">
                <a:solidFill>
                  <a:schemeClr val="bg2">
                    <a:lumMod val="50000"/>
                  </a:schemeClr>
                </a:solidFill>
              </a:rPr>
              <a:t>и нестабильные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</a:rPr>
              <a:t>режимы работы тепловой сети («перетопы»/«недотопы»)</a:t>
            </a:r>
          </a:p>
          <a:p>
            <a:pPr marL="260350" indent="-17145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Ø"/>
              <a:defRPr/>
            </a:pPr>
            <a:endParaRPr lang="ru-RU" sz="1200" dirty="0">
              <a:solidFill>
                <a:schemeClr val="bg2">
                  <a:lumMod val="50000"/>
                </a:schemeClr>
              </a:solidFill>
            </a:endParaRPr>
          </a:p>
          <a:p>
            <a:pPr marL="88900">
              <a:spcBef>
                <a:spcPts val="400"/>
              </a:spcBef>
              <a:spcAft>
                <a:spcPts val="400"/>
              </a:spcAft>
              <a:defRPr/>
            </a:pPr>
            <a:endParaRPr lang="ru-RU" sz="1200" baseline="30000" dirty="0" smtClean="0">
              <a:solidFill>
                <a:schemeClr val="bg2">
                  <a:lumMod val="50000"/>
                </a:schemeClr>
              </a:solidFill>
              <a:cs typeface="Tahoma" pitchFamily="34" charset="0"/>
            </a:endParaRPr>
          </a:p>
        </p:txBody>
      </p:sp>
      <p:sp>
        <p:nvSpPr>
          <p:cNvPr id="416" name="Прямоугольник 415"/>
          <p:cNvSpPr/>
          <p:nvPr/>
        </p:nvSpPr>
        <p:spPr>
          <a:xfrm>
            <a:off x="179512" y="5581689"/>
            <a:ext cx="225955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584200" latinLnBrk="1" hangingPunct="0"/>
            <a:r>
              <a:rPr lang="ru-RU" sz="1200" b="1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Варианты </a:t>
            </a:r>
            <a:r>
              <a:rPr lang="ru-RU" sz="1200" b="1" dirty="0">
                <a:solidFill>
                  <a:schemeClr val="bg2">
                    <a:lumMod val="50000"/>
                  </a:schemeClr>
                </a:solidFill>
                <a:sym typeface="Arial"/>
              </a:rPr>
              <a:t>закрытия схемы </a:t>
            </a:r>
            <a:r>
              <a:rPr lang="ru-RU" sz="1200" b="1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/>
            </a:r>
            <a:br>
              <a:rPr lang="ru-RU" sz="1200" b="1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</a:br>
            <a:r>
              <a:rPr lang="ru-RU" sz="1200" b="1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теплоснабжения</a:t>
            </a:r>
            <a:r>
              <a:rPr lang="ru-RU" sz="1200" b="1" dirty="0">
                <a:solidFill>
                  <a:schemeClr val="bg2">
                    <a:lumMod val="50000"/>
                  </a:schemeClr>
                </a:solidFill>
                <a:sym typeface="Arial"/>
              </a:rPr>
              <a:t>:</a:t>
            </a:r>
          </a:p>
          <a:p>
            <a:pPr marL="228600" lvl="0" indent="-228600" defTabSz="584200" latinLnBrk="1" hangingPunct="0">
              <a:buAutoNum type="arabicPeriod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ЦТП</a:t>
            </a:r>
            <a:endParaRPr lang="ru-RU" sz="1200" dirty="0">
              <a:solidFill>
                <a:schemeClr val="bg2">
                  <a:lumMod val="50000"/>
                </a:schemeClr>
              </a:solidFill>
              <a:sym typeface="Arial"/>
            </a:endParaRPr>
          </a:p>
          <a:p>
            <a:pPr marL="228600" lvl="0" indent="-228600" defTabSz="584200" latinLnBrk="1" hangingPunct="0">
              <a:buAutoNum type="arabicPeriod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ИТП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  <a:sym typeface="Arial"/>
              </a:rPr>
              <a:t> 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(ГВС)</a:t>
            </a:r>
          </a:p>
          <a:p>
            <a:pPr marL="228600" indent="-228600" defTabSz="584200" latinLnBrk="1" hangingPunct="0">
              <a:buFontTx/>
              <a:buAutoNum type="arabicPeriod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ИТП (ГВС+отопление)</a:t>
            </a:r>
            <a:endParaRPr lang="ru-RU" sz="1200" dirty="0">
              <a:solidFill>
                <a:schemeClr val="bg2">
                  <a:lumMod val="50000"/>
                </a:schemeClr>
              </a:solidFill>
              <a:sym typeface="Arial"/>
            </a:endParaRPr>
          </a:p>
        </p:txBody>
      </p:sp>
      <p:cxnSp>
        <p:nvCxnSpPr>
          <p:cNvPr id="419" name="Прямая соединительная линия 418"/>
          <p:cNvCxnSpPr/>
          <p:nvPr/>
        </p:nvCxnSpPr>
        <p:spPr>
          <a:xfrm flipV="1">
            <a:off x="179512" y="5585823"/>
            <a:ext cx="2349821" cy="3417"/>
          </a:xfrm>
          <a:prstGeom prst="line">
            <a:avLst/>
          </a:prstGeom>
          <a:noFill/>
          <a:ln w="3175" cap="flat">
            <a:solidFill>
              <a:schemeClr val="bg1">
                <a:lumMod val="50000"/>
              </a:schemeClr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99188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 txBox="1">
            <a:spLocks/>
          </p:cNvSpPr>
          <p:nvPr/>
        </p:nvSpPr>
        <p:spPr>
          <a:xfrm>
            <a:off x="1763688" y="249332"/>
            <a:ext cx="6718998" cy="731396"/>
          </a:xfrm>
          <a:prstGeom prst="rect">
            <a:avLst/>
          </a:prstGeom>
        </p:spPr>
        <p:txBody>
          <a:bodyPr anchor="b">
            <a:noAutofit/>
          </a:bodyPr>
          <a:lstStyle>
            <a:lvl1pPr defTabSz="410751">
              <a:defRPr sz="3100" baseline="0">
                <a:solidFill>
                  <a:srgbClr val="525E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1pPr>
            <a:lvl2pPr indent="160729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indent="321457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indent="482186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indent="642915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indent="803643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indent="964372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indent="1125101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indent="1285829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defTabSz="584200" latinLnBrk="1" hangingPunct="0"/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</a:rPr>
              <a:t>Проект по установке ИТП в Перми</a:t>
            </a:r>
            <a:endParaRPr lang="ru-RU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" name="TextBox 2"/>
          <p:cNvSpPr txBox="1">
            <a:spLocks noChangeArrowheads="1"/>
          </p:cNvSpPr>
          <p:nvPr/>
        </p:nvSpPr>
        <p:spPr bwMode="auto">
          <a:xfrm>
            <a:off x="100449" y="1268760"/>
            <a:ext cx="4975607" cy="40011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ru-RU"/>
            </a:defPPr>
            <a:lvl1pPr algn="r">
              <a:spcAft>
                <a:spcPct val="0"/>
              </a:spcAft>
              <a:buNone/>
              <a:defRPr b="1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defRPr>
            </a:lvl1pPr>
            <a:lvl2pPr marL="742950" indent="-285750" algn="just" eaLnBrk="0" hangingPunct="0">
              <a:spcAft>
                <a:spcPts val="600"/>
              </a:spcAft>
              <a:buBlip>
                <a:blip r:embed="rId21"/>
              </a:buBlip>
              <a:defRPr sz="2200">
                <a:latin typeface="Tahoma" pitchFamily="34" charset="0"/>
                <a:cs typeface="Tahoma" pitchFamily="34" charset="0"/>
              </a:defRPr>
            </a:lvl2pPr>
            <a:lvl3pPr marL="1143000" indent="-228600" eaLnBrk="0" hangingPunct="0">
              <a:spcAft>
                <a:spcPts val="600"/>
              </a:spcAft>
              <a:buBlip>
                <a:blip r:embed="rId22"/>
              </a:buBlip>
              <a:defRPr sz="2000">
                <a:latin typeface="Tahoma" pitchFamily="34" charset="0"/>
                <a:cs typeface="Tahom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Tahoma" pitchFamily="34" charset="0"/>
                <a:cs typeface="Tahom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Tahoma" pitchFamily="34" charset="0"/>
                <a:cs typeface="Tahom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latin typeface="Tahoma" pitchFamily="34" charset="0"/>
                <a:cs typeface="Tahom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latin typeface="Tahoma" pitchFamily="34" charset="0"/>
                <a:cs typeface="Tahom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latin typeface="Tahoma" pitchFamily="34" charset="0"/>
                <a:cs typeface="Tahom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latin typeface="Tahoma" pitchFamily="34" charset="0"/>
                <a:cs typeface="Tahoma" pitchFamily="34" charset="0"/>
              </a:defRPr>
            </a:lvl9pPr>
          </a:lstStyle>
          <a:p>
            <a:pPr algn="l"/>
            <a:r>
              <a:rPr lang="ru-RU" altLang="ru-RU" sz="2000" b="0" dirty="0">
                <a:solidFill>
                  <a:schemeClr val="bg2">
                    <a:lumMod val="50000"/>
                  </a:schemeClr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Закамский тепловой </a:t>
            </a:r>
            <a:r>
              <a:rPr lang="ru-RU" altLang="ru-RU" sz="2000" b="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узел</a:t>
            </a:r>
            <a:endParaRPr lang="ru-RU" altLang="ru-RU" sz="2000" b="0" dirty="0">
              <a:solidFill>
                <a:schemeClr val="bg2">
                  <a:lumMod val="50000"/>
                </a:schemeClr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436096" y="1278052"/>
            <a:ext cx="3528392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Т+ реализовал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пилотный* этап проекта</a:t>
            </a:r>
            <a:endParaRPr kumimoji="0" lang="ru-RU" sz="140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9017950"/>
              </p:ext>
            </p:extLst>
          </p:nvPr>
        </p:nvGraphicFramePr>
        <p:xfrm>
          <a:off x="5724128" y="1782108"/>
          <a:ext cx="3215326" cy="31683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64296"/>
                <a:gridCol w="551030"/>
              </a:tblGrid>
              <a:tr h="360040">
                <a:tc gridSpan="2">
                  <a:txBody>
                    <a:bodyPr/>
                    <a:lstStyle/>
                    <a:p>
                      <a:pPr marL="0" marR="0" indent="0" algn="ctr" defTabSz="410751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+mn-lt"/>
                          <a:sym typeface="Arial"/>
                        </a:rPr>
                        <a:t>РЕЗУЛЬТАТЫ</a:t>
                      </a:r>
                      <a:endParaRPr lang="ru-RU" sz="12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542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35449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Потребление </a:t>
                      </a:r>
                      <a:r>
                        <a:rPr lang="ru-RU" sz="1200" u="none" strike="noStrike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тепла на отопление</a:t>
                      </a:r>
                      <a:endParaRPr lang="ru-RU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-18%</a:t>
                      </a:r>
                      <a:endParaRPr lang="ru-RU" sz="1200" b="1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35449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Потери в квартальных сетях</a:t>
                      </a:r>
                      <a:endParaRPr lang="ru-RU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-62%</a:t>
                      </a:r>
                      <a:endParaRPr lang="ru-RU" sz="1200" b="1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35449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Объем воды для подготовки ГВС</a:t>
                      </a:r>
                      <a:endParaRPr lang="ru-RU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-9%</a:t>
                      </a:r>
                      <a:endParaRPr lang="ru-RU" sz="1200" b="1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35449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Объем воды для нужд ХВС</a:t>
                      </a:r>
                      <a:endParaRPr lang="ru-RU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+mn-lt"/>
                        </a:rPr>
                        <a:t>-10%</a:t>
                      </a:r>
                      <a:endParaRPr lang="ru-RU" sz="1200" b="1" i="0" u="none" strike="noStrike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0903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Автоматическое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регулирование отопления по погоде</a:t>
                      </a:r>
                      <a:endParaRPr lang="ru-RU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ctr" fontAlgn="b">
                        <a:buClr>
                          <a:srgbClr val="C00000"/>
                        </a:buClr>
                        <a:buSzPct val="200000"/>
                        <a:buFont typeface="Wingdings" panose="05000000000000000000" pitchFamily="2" charset="2"/>
                        <a:buChar char="ü"/>
                      </a:pPr>
                      <a:r>
                        <a:rPr lang="ru-RU" sz="1200" b="0" i="0" u="none" strike="noStrike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ru-RU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593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Вода без цвета, запаха, примесей</a:t>
                      </a:r>
                      <a:endParaRPr lang="ru-RU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ctr" fontAlgn="b">
                        <a:buClr>
                          <a:srgbClr val="C00000"/>
                        </a:buClr>
                        <a:buSzPct val="200000"/>
                        <a:buFont typeface="Wingdings" panose="05000000000000000000" pitchFamily="2" charset="2"/>
                        <a:buChar char="ü"/>
                      </a:pPr>
                      <a:r>
                        <a:rPr lang="ru-RU" sz="1200" b="0" i="0" u="none" strike="noStrike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ru-RU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8947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Вода из крана идет сразу горячая </a:t>
                      </a:r>
                      <a:endParaRPr lang="ru-RU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ctr" fontAlgn="b">
                        <a:buClr>
                          <a:srgbClr val="C00000"/>
                        </a:buClr>
                        <a:buSzPct val="200000"/>
                        <a:buFont typeface="Wingdings" panose="05000000000000000000" pitchFamily="2" charset="2"/>
                        <a:buChar char="ü"/>
                      </a:pPr>
                      <a:r>
                        <a:rPr lang="ru-RU" sz="1200" b="0" i="0" u="none" strike="noStrike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ru-RU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30558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Горячая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и холодная вода идут сразу с нужным напором</a:t>
                      </a:r>
                      <a:endParaRPr lang="ru-RU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ctr" fontAlgn="b">
                        <a:buClr>
                          <a:srgbClr val="C00000"/>
                        </a:buClr>
                        <a:buSzPct val="200000"/>
                        <a:buFont typeface="Wingdings" panose="05000000000000000000" pitchFamily="2" charset="2"/>
                        <a:buChar char="ü"/>
                      </a:pPr>
                      <a:r>
                        <a:rPr lang="ru-RU" sz="1200" b="0" i="0" u="none" strike="noStrike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ru-RU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marL="0" marR="0" indent="0" algn="l" defTabSz="410751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Обеспечен 100%-й и современный учёт потребления тепла </a:t>
                      </a:r>
                      <a:endParaRPr lang="en-US" sz="1200" b="0" i="0" u="none" strike="noStrike" baseline="0" dirty="0" smtClean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ctr" fontAlgn="b">
                        <a:buClr>
                          <a:srgbClr val="C00000"/>
                        </a:buClr>
                        <a:buSzPct val="200000"/>
                        <a:buFont typeface="Wingdings" panose="05000000000000000000" pitchFamily="2" charset="2"/>
                        <a:buChar char="ü"/>
                      </a:pPr>
                      <a:r>
                        <a:rPr lang="ru-RU" sz="1200" b="0" i="0" u="none" strike="noStrike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ru-RU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2" name="Прямоугольник 51"/>
          <p:cNvSpPr/>
          <p:nvPr/>
        </p:nvSpPr>
        <p:spPr>
          <a:xfrm>
            <a:off x="5580112" y="4992271"/>
            <a:ext cx="345638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584200" latinLnBrk="1" hangingPunct="0"/>
            <a:r>
              <a:rPr lang="ru-RU" sz="10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* Переведено 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sym typeface="Arial"/>
              </a:rPr>
              <a:t>14 зданий (вкл.12 МКД</a:t>
            </a:r>
            <a:r>
              <a:rPr lang="ru-RU" sz="10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), 3 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sym typeface="Arial"/>
              </a:rPr>
              <a:t>ЦТП закрыто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5652121" y="5238492"/>
            <a:ext cx="3312367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just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1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В настоящее время установлено еще </a:t>
            </a:r>
            <a:br>
              <a:rPr kumimoji="0" lang="ru-RU" sz="1200" b="0" i="1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</a:br>
            <a:r>
              <a:rPr kumimoji="0" lang="ru-RU" sz="1200" b="0" i="1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16 ИТП, до конца 2016 планируется </a:t>
            </a:r>
            <a:br>
              <a:rPr kumimoji="0" lang="ru-RU" sz="1200" b="0" i="1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</a:br>
            <a:r>
              <a:rPr kumimoji="0" lang="ru-RU" sz="1200" b="0" i="1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довести</a:t>
            </a:r>
            <a:r>
              <a:rPr kumimoji="0" lang="ru-RU" sz="1200" b="0" i="1" u="none" strike="noStrike" cap="none" spc="0" normalizeH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 масштаб пилота до 50 ИТП </a:t>
            </a:r>
            <a:endParaRPr kumimoji="0" lang="ru-RU" sz="1200" b="0" i="1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ea typeface="+mn-ea"/>
              <a:cs typeface="+mn-cs"/>
              <a:sym typeface="Arial"/>
            </a:endParaRP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>
            <a:off x="5580112" y="1801018"/>
            <a:ext cx="0" cy="4013538"/>
          </a:xfrm>
          <a:prstGeom prst="line">
            <a:avLst/>
          </a:prstGeom>
          <a:noFill/>
          <a:ln w="3175" cap="flat">
            <a:solidFill>
              <a:schemeClr val="bg1">
                <a:lumMod val="50000"/>
              </a:schemeClr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2" name="Номер слайда 8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85710F0-95CE-41ED-9A90-13AF48BDBFF5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07504" y="5930116"/>
            <a:ext cx="8856984" cy="523220"/>
          </a:xfrm>
          <a:prstGeom prst="rect">
            <a:avLst/>
          </a:prstGeom>
          <a:ln>
            <a:solidFill>
              <a:srgbClr val="F15427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</a:rPr>
              <a:t>Рационально 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инвестировать собранные средства жителей в повышение капитализации </a:t>
            </a:r>
            <a:br>
              <a:rPr lang="ru-RU" sz="1400" b="1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их же объекта, занимаясь одной из критически важных инфраструктур создания комфорта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107504" y="2173794"/>
            <a:ext cx="3715932" cy="2200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Bef>
                <a:spcPts val="600"/>
              </a:spcBef>
              <a:buFont typeface="+mj-lt"/>
              <a:buAutoNum type="arabicPeriod"/>
              <a:defRPr/>
            </a:pPr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</a:rPr>
              <a:t>Низкое 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качество теплоснабжения: </a:t>
            </a:r>
            <a:endParaRPr lang="ru-RU" sz="1400" dirty="0">
              <a:solidFill>
                <a:schemeClr val="bg2">
                  <a:lumMod val="50000"/>
                </a:schemeClr>
              </a:solidFill>
            </a:endParaRPr>
          </a:p>
          <a:p>
            <a:pPr marL="177800" indent="-17780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у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54%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потребителей «перетопы» </a:t>
            </a:r>
          </a:p>
          <a:p>
            <a:pPr marL="177800" indent="-177800"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у 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</a:rPr>
              <a:t>19%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потребителей «недотопы» </a:t>
            </a:r>
          </a:p>
          <a:p>
            <a:pPr marL="180975" indent="-180975">
              <a:spcBef>
                <a:spcPts val="600"/>
              </a:spcBef>
              <a:buFont typeface="+mj-lt"/>
              <a:buAutoNum type="arabicPeriod" startAt="2"/>
              <a:tabLst>
                <a:tab pos="446088" algn="l"/>
              </a:tabLst>
              <a:defRPr/>
            </a:pPr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Высокие </a:t>
            </a:r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</a:rPr>
              <a:t>потери</a:t>
            </a:r>
            <a:r>
              <a:rPr lang="en-US" sz="1400" b="1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</a:rPr>
              <a:t>тепла: 26%</a:t>
            </a:r>
          </a:p>
          <a:p>
            <a:pPr marL="180975" indent="-180975">
              <a:spcBef>
                <a:spcPts val="600"/>
              </a:spcBef>
              <a:buFont typeface="+mj-lt"/>
              <a:buAutoNum type="arabicPeriod" startAt="2"/>
              <a:tabLst>
                <a:tab pos="446088" algn="l"/>
              </a:tabLst>
              <a:defRPr/>
            </a:pPr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</a:rPr>
              <a:t>Оснащенность 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зданий</a:t>
            </a:r>
            <a:br>
              <a:rPr lang="ru-RU" sz="1400" b="1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приборами учета: </a:t>
            </a:r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</a:rPr>
              <a:t>88%</a:t>
            </a:r>
            <a:endParaRPr lang="ru-RU" sz="1400" b="1" dirty="0">
              <a:solidFill>
                <a:schemeClr val="bg2">
                  <a:lumMod val="50000"/>
                </a:schemeClr>
              </a:solidFill>
            </a:endParaRPr>
          </a:p>
          <a:p>
            <a:pPr marL="180975" indent="-180975">
              <a:spcBef>
                <a:spcPts val="600"/>
              </a:spcBef>
              <a:buFont typeface="+mj-lt"/>
              <a:buAutoNum type="arabicPeriod" startAt="2"/>
              <a:tabLst>
                <a:tab pos="446088" algn="l"/>
              </a:tabLst>
              <a:defRPr/>
            </a:pPr>
            <a:endParaRPr lang="ru-RU" sz="1400" b="1" dirty="0" smtClean="0">
              <a:solidFill>
                <a:srgbClr val="FF0000"/>
              </a:solidFill>
            </a:endParaRPr>
          </a:p>
          <a:p>
            <a:pPr>
              <a:spcBef>
                <a:spcPts val="600"/>
              </a:spcBef>
              <a:defRPr/>
            </a:pPr>
            <a:endParaRPr lang="ru-RU" sz="14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52507" y="4178017"/>
            <a:ext cx="2979333" cy="1564531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584200" latinLnBrk="1" hangingPunct="0">
              <a:spcBef>
                <a:spcPts val="600"/>
              </a:spcBef>
            </a:pPr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Перевод потребителей на ИТП</a:t>
            </a:r>
          </a:p>
          <a:p>
            <a:pPr marL="371475" lvl="1" indent="-285750" defTabSz="584200" latinLnBrk="1" hangingPunct="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1 130 зданий</a:t>
            </a:r>
          </a:p>
          <a:p>
            <a:pPr marL="371475" lvl="1" indent="-285750" defTabSz="584200" latinLnBrk="1" hangingPunct="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kumimoji="0" lang="ru-RU" sz="1400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sym typeface="Arial"/>
              </a:rPr>
              <a:t>120 км. сетей </a:t>
            </a:r>
          </a:p>
          <a:p>
            <a:pPr marL="371475" lvl="1" indent="-285750" defTabSz="584200" latinLnBrk="1" hangingPunct="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400" baseline="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2,5 млрд руб.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sym typeface="Arial"/>
              </a:rPr>
              <a:t> </a:t>
            </a:r>
            <a:endParaRPr lang="ru-RU" sz="1400" dirty="0" smtClean="0">
              <a:solidFill>
                <a:schemeClr val="bg2">
                  <a:lumMod val="50000"/>
                </a:schemeClr>
              </a:solidFill>
              <a:sym typeface="Arial"/>
            </a:endParaRPr>
          </a:p>
          <a:p>
            <a:pPr marL="371475" lvl="1" indent="-285750" defTabSz="584200" latinLnBrk="1" hangingPunct="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2014-2018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sym typeface="Arial"/>
              </a:rPr>
              <a:t>гг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.</a:t>
            </a:r>
            <a:endParaRPr kumimoji="0" lang="ru-RU" sz="1400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sym typeface="Arial"/>
            </a:endParaRPr>
          </a:p>
        </p:txBody>
      </p:sp>
      <p:grpSp>
        <p:nvGrpSpPr>
          <p:cNvPr id="62" name="Группа 61"/>
          <p:cNvGrpSpPr/>
          <p:nvPr/>
        </p:nvGrpSpPr>
        <p:grpSpPr>
          <a:xfrm>
            <a:off x="3455249" y="2662520"/>
            <a:ext cx="2052855" cy="790679"/>
            <a:chOff x="3173131" y="1990249"/>
            <a:chExt cx="2279278" cy="790679"/>
          </a:xfrm>
        </p:grpSpPr>
        <p:cxnSp>
          <p:nvCxnSpPr>
            <p:cNvPr id="63" name="Прямая соединительная линия 62"/>
            <p:cNvCxnSpPr/>
            <p:nvPr/>
          </p:nvCxnSpPr>
          <p:spPr>
            <a:xfrm>
              <a:off x="3432716" y="2548564"/>
              <a:ext cx="792133" cy="0"/>
            </a:xfrm>
            <a:prstGeom prst="line">
              <a:avLst/>
            </a:prstGeom>
            <a:solidFill>
              <a:srgbClr val="AE2C25"/>
            </a:solidFill>
            <a:ln w="9525">
              <a:solidFill>
                <a:schemeClr val="accent1"/>
              </a:solidFill>
              <a:miter lim="800000"/>
              <a:headEnd type="none" w="med" len="med"/>
              <a:tailEnd type="triangle" w="med" len="med"/>
            </a:ln>
          </p:spPr>
        </p:cxnSp>
        <p:cxnSp>
          <p:nvCxnSpPr>
            <p:cNvPr id="64" name="Прямая соединительная линия 63"/>
            <p:cNvCxnSpPr/>
            <p:nvPr/>
          </p:nvCxnSpPr>
          <p:spPr>
            <a:xfrm>
              <a:off x="3825098" y="2676108"/>
              <a:ext cx="792133" cy="0"/>
            </a:xfrm>
            <a:prstGeom prst="line">
              <a:avLst/>
            </a:prstGeom>
            <a:solidFill>
              <a:srgbClr val="AE2C25"/>
            </a:solidFill>
            <a:ln w="9525">
              <a:solidFill>
                <a:schemeClr val="accent1"/>
              </a:solidFill>
              <a:miter lim="800000"/>
              <a:headEnd type="triangle" w="med" len="med"/>
              <a:tailEnd type="none" w="med" len="med"/>
            </a:ln>
          </p:spPr>
        </p:cxnSp>
        <p:grpSp>
          <p:nvGrpSpPr>
            <p:cNvPr id="65" name="Группа 64"/>
            <p:cNvGrpSpPr/>
            <p:nvPr>
              <p:custDataLst>
                <p:tags r:id="rId10"/>
              </p:custDataLst>
            </p:nvPr>
          </p:nvGrpSpPr>
          <p:grpSpPr>
            <a:xfrm>
              <a:off x="4624600" y="2481246"/>
              <a:ext cx="381269" cy="191316"/>
              <a:chOff x="-2142275" y="4818807"/>
              <a:chExt cx="410275" cy="216024"/>
            </a:xfrm>
          </p:grpSpPr>
          <p:cxnSp>
            <p:nvCxnSpPr>
              <p:cNvPr id="80" name="Прямая соединительная линия 79"/>
              <p:cNvCxnSpPr/>
              <p:nvPr/>
            </p:nvCxnSpPr>
            <p:spPr>
              <a:xfrm>
                <a:off x="-2142275" y="4962823"/>
                <a:ext cx="410274" cy="0"/>
              </a:xfrm>
              <a:prstGeom prst="line">
                <a:avLst/>
              </a:prstGeom>
              <a:solidFill>
                <a:srgbClr val="AE2C25"/>
              </a:solidFill>
              <a:ln w="9525">
                <a:solidFill>
                  <a:schemeClr val="accent1"/>
                </a:solidFill>
                <a:miter lim="800000"/>
                <a:headEnd type="none" w="med" len="med"/>
                <a:tailEnd type="none" w="med" len="med"/>
              </a:ln>
            </p:spPr>
          </p:cxnSp>
          <p:cxnSp>
            <p:nvCxnSpPr>
              <p:cNvPr id="83" name="Прямая соединительная линия 82"/>
              <p:cNvCxnSpPr/>
              <p:nvPr/>
            </p:nvCxnSpPr>
            <p:spPr>
              <a:xfrm>
                <a:off x="-2142275" y="5034831"/>
                <a:ext cx="410274" cy="0"/>
              </a:xfrm>
              <a:prstGeom prst="line">
                <a:avLst/>
              </a:prstGeom>
              <a:solidFill>
                <a:srgbClr val="AE2C25"/>
              </a:solidFill>
              <a:ln w="9525">
                <a:solidFill>
                  <a:schemeClr val="accent1"/>
                </a:solidFill>
                <a:miter lim="800000"/>
                <a:headEnd type="none" w="med" len="med"/>
                <a:tailEnd type="none" w="med" len="med"/>
              </a:ln>
            </p:spPr>
          </p:cxnSp>
          <p:cxnSp>
            <p:nvCxnSpPr>
              <p:cNvPr id="84" name="Прямая соединительная линия 83"/>
              <p:cNvCxnSpPr/>
              <p:nvPr/>
            </p:nvCxnSpPr>
            <p:spPr>
              <a:xfrm>
                <a:off x="-2142275" y="4890815"/>
                <a:ext cx="410275" cy="0"/>
              </a:xfrm>
              <a:prstGeom prst="line">
                <a:avLst/>
              </a:prstGeom>
              <a:solidFill>
                <a:srgbClr val="AE2C25"/>
              </a:solidFill>
              <a:ln w="9525">
                <a:solidFill>
                  <a:schemeClr val="accent1"/>
                </a:solidFill>
                <a:miter lim="800000"/>
                <a:headEnd type="none" w="med" len="med"/>
                <a:tailEnd type="none" w="med" len="med"/>
              </a:ln>
            </p:spPr>
          </p:cxnSp>
          <p:cxnSp>
            <p:nvCxnSpPr>
              <p:cNvPr id="86" name="Прямая соединительная линия 85"/>
              <p:cNvCxnSpPr/>
              <p:nvPr/>
            </p:nvCxnSpPr>
            <p:spPr>
              <a:xfrm>
                <a:off x="-2142275" y="4818807"/>
                <a:ext cx="410274" cy="0"/>
              </a:xfrm>
              <a:prstGeom prst="line">
                <a:avLst/>
              </a:prstGeom>
              <a:solidFill>
                <a:srgbClr val="AE2C25"/>
              </a:solidFill>
              <a:ln w="9525">
                <a:solidFill>
                  <a:schemeClr val="accent1"/>
                </a:solidFill>
                <a:miter lim="800000"/>
                <a:headEnd type="none" w="med" len="med"/>
                <a:tailEnd type="none" w="med" len="med"/>
              </a:ln>
            </p:spPr>
          </p:cxnSp>
        </p:grpSp>
        <p:grpSp>
          <p:nvGrpSpPr>
            <p:cNvPr id="66" name="Группа 65"/>
            <p:cNvGrpSpPr/>
            <p:nvPr>
              <p:custDataLst>
                <p:tags r:id="rId11"/>
              </p:custDataLst>
            </p:nvPr>
          </p:nvGrpSpPr>
          <p:grpSpPr>
            <a:xfrm>
              <a:off x="4853388" y="2206980"/>
              <a:ext cx="599021" cy="573948"/>
              <a:chOff x="-3842579" y="1808425"/>
              <a:chExt cx="1009261" cy="1191541"/>
            </a:xfrm>
            <a:solidFill>
              <a:schemeClr val="bg1">
                <a:lumMod val="75000"/>
              </a:schemeClr>
            </a:solidFill>
          </p:grpSpPr>
          <p:sp>
            <p:nvSpPr>
              <p:cNvPr id="77" name="Прямоугольник 76"/>
              <p:cNvSpPr/>
              <p:nvPr>
                <p:custDataLst>
                  <p:tags r:id="rId19"/>
                </p:custDataLst>
              </p:nvPr>
            </p:nvSpPr>
            <p:spPr>
              <a:xfrm>
                <a:off x="-3662496" y="2204864"/>
                <a:ext cx="633755" cy="795102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ru-RU" sz="1000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78" name="Равнобедренный треугольник 77"/>
              <p:cNvSpPr/>
              <p:nvPr/>
            </p:nvSpPr>
            <p:spPr>
              <a:xfrm>
                <a:off x="-3842579" y="1808425"/>
                <a:ext cx="1009261" cy="396441"/>
              </a:xfrm>
              <a:prstGeom prst="triangle">
                <a:avLst/>
              </a:prstGeom>
              <a:solidFill>
                <a:schemeClr val="bg1">
                  <a:lumMod val="6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ru-RU" sz="1000" dirty="0" smtClean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67" name="Группа 66"/>
            <p:cNvGrpSpPr/>
            <p:nvPr>
              <p:custDataLst>
                <p:tags r:id="rId12"/>
              </p:custDataLst>
            </p:nvPr>
          </p:nvGrpSpPr>
          <p:grpSpPr>
            <a:xfrm>
              <a:off x="3173131" y="1990249"/>
              <a:ext cx="701670" cy="765372"/>
              <a:chOff x="800353" y="2960888"/>
              <a:chExt cx="1159263" cy="1512168"/>
            </a:xfrm>
            <a:solidFill>
              <a:schemeClr val="tx2"/>
            </a:solidFill>
          </p:grpSpPr>
          <p:sp>
            <p:nvSpPr>
              <p:cNvPr id="72" name="Прямоугольник 71"/>
              <p:cNvSpPr/>
              <p:nvPr>
                <p:custDataLst>
                  <p:tags r:id="rId14"/>
                </p:custDataLst>
              </p:nvPr>
            </p:nvSpPr>
            <p:spPr>
              <a:xfrm>
                <a:off x="862916" y="3906934"/>
                <a:ext cx="986988" cy="566122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ru-RU" sz="1000" b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73" name="Трапеция 72"/>
              <p:cNvSpPr/>
              <p:nvPr>
                <p:custDataLst>
                  <p:tags r:id="rId15"/>
                </p:custDataLst>
              </p:nvPr>
            </p:nvSpPr>
            <p:spPr>
              <a:xfrm>
                <a:off x="1159197" y="3258328"/>
                <a:ext cx="169515" cy="782679"/>
              </a:xfrm>
              <a:prstGeom prst="trapezoid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ru-RU" sz="100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Трапеция 73"/>
              <p:cNvSpPr/>
              <p:nvPr>
                <p:custDataLst>
                  <p:tags r:id="rId16"/>
                </p:custDataLst>
              </p:nvPr>
            </p:nvSpPr>
            <p:spPr>
              <a:xfrm>
                <a:off x="981435" y="2960888"/>
                <a:ext cx="241521" cy="1009803"/>
              </a:xfrm>
              <a:prstGeom prst="trapezoid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ru-RU" sz="100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75" name="Трапеция 74"/>
              <p:cNvSpPr/>
              <p:nvPr>
                <p:custDataLst>
                  <p:tags r:id="rId17"/>
                </p:custDataLst>
              </p:nvPr>
            </p:nvSpPr>
            <p:spPr>
              <a:xfrm>
                <a:off x="1385370" y="3608961"/>
                <a:ext cx="360040" cy="561243"/>
              </a:xfrm>
              <a:prstGeom prst="trapezoid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ru-RU" sz="100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>
                <p:custDataLst>
                  <p:tags r:id="rId18"/>
                </p:custDataLst>
              </p:nvPr>
            </p:nvSpPr>
            <p:spPr>
              <a:xfrm>
                <a:off x="800353" y="3906934"/>
                <a:ext cx="1159263" cy="566122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r>
                  <a:rPr lang="ru-RU" sz="1000" dirty="0" smtClean="0">
                    <a:solidFill>
                      <a:schemeClr val="bg1"/>
                    </a:solidFill>
                  </a:rPr>
                  <a:t>ТЭЦ</a:t>
                </a:r>
                <a:endParaRPr lang="ru-RU" sz="10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0" name="Прямоугольник 69"/>
            <p:cNvSpPr/>
            <p:nvPr>
              <p:custDataLst>
                <p:tags r:id="rId13"/>
              </p:custDataLst>
            </p:nvPr>
          </p:nvSpPr>
          <p:spPr>
            <a:xfrm>
              <a:off x="4202096" y="2372988"/>
              <a:ext cx="533835" cy="382633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ru-RU" sz="1000" dirty="0" smtClean="0">
                  <a:solidFill>
                    <a:schemeClr val="bg1"/>
                  </a:solidFill>
                </a:rPr>
                <a:t>ЦТП</a:t>
              </a:r>
            </a:p>
          </p:txBody>
        </p:sp>
        <p:sp>
          <p:nvSpPr>
            <p:cNvPr id="71" name="Прямоугольник 70"/>
            <p:cNvSpPr/>
            <p:nvPr/>
          </p:nvSpPr>
          <p:spPr>
            <a:xfrm>
              <a:off x="3651535" y="2013911"/>
              <a:ext cx="1520352" cy="237611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lvl="0" algn="ctr"/>
              <a:r>
                <a:rPr lang="ru-RU" sz="1000" b="1" dirty="0" smtClean="0">
                  <a:solidFill>
                    <a:schemeClr val="bg2">
                      <a:lumMod val="50000"/>
                    </a:schemeClr>
                  </a:solidFill>
                </a:rPr>
                <a:t>Текущая схема</a:t>
              </a:r>
              <a:endParaRPr lang="ru-RU" sz="1000" b="1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</p:grpSp>
      <p:cxnSp>
        <p:nvCxnSpPr>
          <p:cNvPr id="87" name="Прямая соединительная линия 86"/>
          <p:cNvCxnSpPr/>
          <p:nvPr/>
        </p:nvCxnSpPr>
        <p:spPr>
          <a:xfrm>
            <a:off x="179512" y="3942348"/>
            <a:ext cx="5256584" cy="0"/>
          </a:xfrm>
          <a:prstGeom prst="line">
            <a:avLst/>
          </a:prstGeom>
          <a:noFill/>
          <a:ln w="3175" cap="flat">
            <a:solidFill>
              <a:schemeClr val="bg1">
                <a:lumMod val="50000"/>
              </a:schemeClr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8" name="Прямоугольник 87"/>
          <p:cNvSpPr/>
          <p:nvPr/>
        </p:nvSpPr>
        <p:spPr>
          <a:xfrm>
            <a:off x="107504" y="4014356"/>
            <a:ext cx="107882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584200" latinLnBrk="1" hangingPunct="0"/>
            <a:r>
              <a:rPr lang="ru-RU" sz="1600" b="1" dirty="0">
                <a:solidFill>
                  <a:srgbClr val="C00000"/>
                </a:solidFill>
                <a:sym typeface="Arial"/>
              </a:rPr>
              <a:t>Решение</a:t>
            </a:r>
          </a:p>
        </p:txBody>
      </p:sp>
      <p:sp>
        <p:nvSpPr>
          <p:cNvPr id="89" name="Прямоугольник 88"/>
          <p:cNvSpPr/>
          <p:nvPr/>
        </p:nvSpPr>
        <p:spPr>
          <a:xfrm>
            <a:off x="107504" y="1854116"/>
            <a:ext cx="126900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584200" latinLnBrk="1" hangingPunct="0"/>
            <a:r>
              <a:rPr lang="ru-RU" sz="1600" b="1" dirty="0" smtClean="0">
                <a:solidFill>
                  <a:srgbClr val="C00000"/>
                </a:solidFill>
                <a:sym typeface="Arial"/>
              </a:rPr>
              <a:t>Проблемы</a:t>
            </a:r>
            <a:endParaRPr lang="ru-RU" sz="1600" b="1" dirty="0">
              <a:solidFill>
                <a:srgbClr val="C00000"/>
              </a:solidFill>
              <a:sym typeface="Arial"/>
            </a:endParaRPr>
          </a:p>
        </p:txBody>
      </p:sp>
      <p:cxnSp>
        <p:nvCxnSpPr>
          <p:cNvPr id="90" name="Прямая соединительная линия 89"/>
          <p:cNvCxnSpPr/>
          <p:nvPr/>
        </p:nvCxnSpPr>
        <p:spPr>
          <a:xfrm>
            <a:off x="5580112" y="1801018"/>
            <a:ext cx="0" cy="4013538"/>
          </a:xfrm>
          <a:prstGeom prst="line">
            <a:avLst/>
          </a:prstGeom>
          <a:noFill/>
          <a:ln w="3175" cap="flat">
            <a:solidFill>
              <a:schemeClr val="bg1">
                <a:lumMod val="50000"/>
              </a:schemeClr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91" name="Прямая соединительная линия 90"/>
          <p:cNvCxnSpPr/>
          <p:nvPr/>
        </p:nvCxnSpPr>
        <p:spPr>
          <a:xfrm>
            <a:off x="266686" y="1732119"/>
            <a:ext cx="5206041" cy="0"/>
          </a:xfrm>
          <a:prstGeom prst="line">
            <a:avLst/>
          </a:prstGeom>
          <a:noFill/>
          <a:ln w="3175" cap="flat">
            <a:solidFill>
              <a:schemeClr val="bg1">
                <a:lumMod val="50000"/>
              </a:schemeClr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92" name="Группа 91"/>
          <p:cNvGrpSpPr/>
          <p:nvPr/>
        </p:nvGrpSpPr>
        <p:grpSpPr>
          <a:xfrm>
            <a:off x="3491880" y="4331566"/>
            <a:ext cx="2016224" cy="790679"/>
            <a:chOff x="3419872" y="4970346"/>
            <a:chExt cx="2016224" cy="790679"/>
          </a:xfrm>
        </p:grpSpPr>
        <p:grpSp>
          <p:nvGrpSpPr>
            <p:cNvPr id="93" name="Группа 92"/>
            <p:cNvGrpSpPr/>
            <p:nvPr/>
          </p:nvGrpSpPr>
          <p:grpSpPr>
            <a:xfrm>
              <a:off x="3419872" y="4970346"/>
              <a:ext cx="2016224" cy="790679"/>
              <a:chOff x="4381598" y="4859086"/>
              <a:chExt cx="2016224" cy="790679"/>
            </a:xfrm>
          </p:grpSpPr>
          <p:grpSp>
            <p:nvGrpSpPr>
              <p:cNvPr id="98" name="Группа 97"/>
              <p:cNvGrpSpPr/>
              <p:nvPr>
                <p:custDataLst>
                  <p:tags r:id="rId1"/>
                </p:custDataLst>
              </p:nvPr>
            </p:nvGrpSpPr>
            <p:grpSpPr>
              <a:xfrm>
                <a:off x="5858308" y="5075817"/>
                <a:ext cx="539514" cy="573948"/>
                <a:chOff x="-3911104" y="1808425"/>
                <a:chExt cx="1009261" cy="1191541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09" name="Прямоугольник 108"/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-3731021" y="2204864"/>
                  <a:ext cx="633755" cy="795102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algn="ctr"/>
                  <a:endParaRPr lang="ru-RU" sz="1000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Равнобедренный треугольник 109"/>
                <p:cNvSpPr/>
                <p:nvPr/>
              </p:nvSpPr>
              <p:spPr>
                <a:xfrm>
                  <a:off x="-3911104" y="1808425"/>
                  <a:ext cx="1009261" cy="396441"/>
                </a:xfrm>
                <a:prstGeom prst="triangle">
                  <a:avLst/>
                </a:prstGeom>
                <a:solidFill>
                  <a:schemeClr val="bg1">
                    <a:lumMod val="65000"/>
                  </a:schemeClr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algn="ctr"/>
                  <a:endParaRPr lang="ru-RU" sz="1000" dirty="0" smtClean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99" name="Группа 98"/>
              <p:cNvGrpSpPr/>
              <p:nvPr>
                <p:custDataLst>
                  <p:tags r:id="rId2"/>
                </p:custDataLst>
              </p:nvPr>
            </p:nvGrpSpPr>
            <p:grpSpPr>
              <a:xfrm>
                <a:off x="4381598" y="4859086"/>
                <a:ext cx="631966" cy="765372"/>
                <a:chOff x="800353" y="2960888"/>
                <a:chExt cx="1159263" cy="1512168"/>
              </a:xfrm>
              <a:solidFill>
                <a:schemeClr val="tx2"/>
              </a:solidFill>
            </p:grpSpPr>
            <p:sp>
              <p:nvSpPr>
                <p:cNvPr id="104" name="Прямоугольник 103"/>
                <p:cNvSpPr/>
                <p:nvPr>
                  <p:custDataLst>
                    <p:tags r:id="rId4"/>
                  </p:custDataLst>
                </p:nvPr>
              </p:nvSpPr>
              <p:spPr>
                <a:xfrm>
                  <a:off x="862916" y="3906934"/>
                  <a:ext cx="986988" cy="566122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algn="ctr"/>
                  <a:endParaRPr lang="ru-RU" sz="1000" b="1" dirty="0" smtClean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5" name="Трапеция 104"/>
                <p:cNvSpPr/>
                <p:nvPr>
                  <p:custDataLst>
                    <p:tags r:id="rId5"/>
                  </p:custDataLst>
                </p:nvPr>
              </p:nvSpPr>
              <p:spPr>
                <a:xfrm>
                  <a:off x="1150949" y="3258328"/>
                  <a:ext cx="169514" cy="782680"/>
                </a:xfrm>
                <a:prstGeom prst="trapezoid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algn="ctr"/>
                  <a:endParaRPr lang="ru-RU" sz="1000" dirty="0" smtClean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6" name="Трапеция 105"/>
                <p:cNvSpPr/>
                <p:nvPr>
                  <p:custDataLst>
                    <p:tags r:id="rId6"/>
                  </p:custDataLst>
                </p:nvPr>
              </p:nvSpPr>
              <p:spPr>
                <a:xfrm>
                  <a:off x="981435" y="2960888"/>
                  <a:ext cx="241522" cy="1009804"/>
                </a:xfrm>
                <a:prstGeom prst="trapezoid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algn="ctr"/>
                  <a:endParaRPr lang="ru-RU" sz="1000" dirty="0" smtClean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7" name="Трапеция 106"/>
                <p:cNvSpPr/>
                <p:nvPr>
                  <p:custDataLst>
                    <p:tags r:id="rId7"/>
                  </p:custDataLst>
                </p:nvPr>
              </p:nvSpPr>
              <p:spPr>
                <a:xfrm>
                  <a:off x="1385370" y="3608961"/>
                  <a:ext cx="360040" cy="561243"/>
                </a:xfrm>
                <a:prstGeom prst="trapezoid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algn="ctr"/>
                  <a:endParaRPr lang="ru-RU" sz="1000" dirty="0" smtClean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8" name="Прямоугольник 107"/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800353" y="3906934"/>
                  <a:ext cx="1159263" cy="566122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algn="ctr"/>
                  <a:r>
                    <a:rPr lang="ru-RU" sz="1000" dirty="0" smtClean="0">
                      <a:solidFill>
                        <a:schemeClr val="bg1"/>
                      </a:solidFill>
                    </a:rPr>
                    <a:t>ТЭЦ</a:t>
                  </a:r>
                  <a:endParaRPr lang="ru-RU" sz="1000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100" name="Прямоугольник 99"/>
              <p:cNvSpPr/>
              <p:nvPr/>
            </p:nvSpPr>
            <p:spPr>
              <a:xfrm>
                <a:off x="4795375" y="4882748"/>
                <a:ext cx="1369321" cy="237611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lstStyle/>
              <a:p>
                <a:pPr lvl="0" algn="ctr"/>
                <a:r>
                  <a:rPr lang="ru-RU" sz="1000" b="1" dirty="0" smtClean="0">
                    <a:solidFill>
                      <a:schemeClr val="bg2">
                        <a:lumMod val="50000"/>
                      </a:schemeClr>
                    </a:solidFill>
                  </a:rPr>
                  <a:t>Целевая схема</a:t>
                </a:r>
                <a:endParaRPr lang="ru-RU" sz="1000" b="1" dirty="0">
                  <a:solidFill>
                    <a:schemeClr val="bg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>
                <p:custDataLst>
                  <p:tags r:id="rId3"/>
                </p:custDataLst>
              </p:nvPr>
            </p:nvSpPr>
            <p:spPr>
              <a:xfrm>
                <a:off x="5954574" y="5522235"/>
                <a:ext cx="289722" cy="127530"/>
              </a:xfrm>
              <a:prstGeom prst="rect">
                <a:avLst/>
              </a:prstGeom>
              <a:solidFill>
                <a:srgbClr val="C00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/>
              <a:lstStyle/>
              <a:p>
                <a:pPr algn="ctr"/>
                <a:r>
                  <a:rPr lang="ru-RU" sz="1000" dirty="0" smtClean="0">
                    <a:solidFill>
                      <a:schemeClr val="bg1"/>
                    </a:solidFill>
                  </a:rPr>
                  <a:t>ИТП</a:t>
                </a:r>
              </a:p>
            </p:txBody>
          </p:sp>
          <p:cxnSp>
            <p:nvCxnSpPr>
              <p:cNvPr id="102" name="Прямая соединительная линия 101"/>
              <p:cNvCxnSpPr/>
              <p:nvPr/>
            </p:nvCxnSpPr>
            <p:spPr>
              <a:xfrm>
                <a:off x="5004048" y="5522234"/>
                <a:ext cx="971992" cy="1"/>
              </a:xfrm>
              <a:prstGeom prst="line">
                <a:avLst/>
              </a:prstGeom>
              <a:solidFill>
                <a:srgbClr val="AE2C25"/>
              </a:solidFill>
              <a:ln w="9525">
                <a:solidFill>
                  <a:schemeClr val="accent1"/>
                </a:solidFill>
                <a:miter lim="800000"/>
                <a:headEnd type="triangle" w="med" len="med"/>
                <a:tailEnd type="none" w="med" len="med"/>
              </a:ln>
            </p:spPr>
          </p:cxnSp>
          <p:cxnSp>
            <p:nvCxnSpPr>
              <p:cNvPr id="103" name="Прямая соединительная линия 102"/>
              <p:cNvCxnSpPr/>
              <p:nvPr/>
            </p:nvCxnSpPr>
            <p:spPr>
              <a:xfrm>
                <a:off x="4932040" y="5373216"/>
                <a:ext cx="1044000" cy="1"/>
              </a:xfrm>
              <a:prstGeom prst="line">
                <a:avLst/>
              </a:prstGeom>
              <a:solidFill>
                <a:srgbClr val="AE2C25"/>
              </a:solidFill>
              <a:ln w="9525">
                <a:solidFill>
                  <a:schemeClr val="accent1"/>
                </a:solidFill>
                <a:miter lim="800000"/>
                <a:headEnd type="none" w="med" len="med"/>
                <a:tailEnd type="triangle" w="med" len="med"/>
              </a:ln>
            </p:spPr>
          </p:cxnSp>
        </p:grpSp>
        <p:sp>
          <p:nvSpPr>
            <p:cNvPr id="94" name="Овал 93"/>
            <p:cNvSpPr/>
            <p:nvPr/>
          </p:nvSpPr>
          <p:spPr>
            <a:xfrm>
              <a:off x="4873625" y="5418209"/>
              <a:ext cx="45914" cy="45719"/>
            </a:xfrm>
            <a:prstGeom prst="ellipse">
              <a:avLst/>
            </a:prstGeom>
            <a:noFill/>
            <a:ln w="12700" cap="flat">
              <a:solidFill>
                <a:schemeClr val="bg2">
                  <a:lumMod val="50000"/>
                </a:schemeClr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cxnSp>
          <p:nvCxnSpPr>
            <p:cNvPr id="95" name="Прямая соединительная линия 94"/>
            <p:cNvCxnSpPr/>
            <p:nvPr/>
          </p:nvCxnSpPr>
          <p:spPr>
            <a:xfrm>
              <a:off x="4896582" y="5463928"/>
              <a:ext cx="0" cy="18002"/>
            </a:xfrm>
            <a:prstGeom prst="line">
              <a:avLst/>
            </a:prstGeom>
            <a:noFill/>
            <a:ln w="12700" cap="flat">
              <a:solidFill>
                <a:schemeClr val="bg2">
                  <a:lumMod val="50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96" name="Овал 95"/>
            <p:cNvSpPr/>
            <p:nvPr/>
          </p:nvSpPr>
          <p:spPr>
            <a:xfrm>
              <a:off x="4936736" y="5569589"/>
              <a:ext cx="45914" cy="45719"/>
            </a:xfrm>
            <a:prstGeom prst="ellipse">
              <a:avLst/>
            </a:prstGeom>
            <a:noFill/>
            <a:ln w="12700" cap="flat">
              <a:solidFill>
                <a:schemeClr val="bg2">
                  <a:lumMod val="50000"/>
                </a:schemeClr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endParaRPr>
            </a:p>
          </p:txBody>
        </p:sp>
        <p:cxnSp>
          <p:nvCxnSpPr>
            <p:cNvPr id="97" name="Прямая соединительная линия 96"/>
            <p:cNvCxnSpPr/>
            <p:nvPr/>
          </p:nvCxnSpPr>
          <p:spPr>
            <a:xfrm>
              <a:off x="4959693" y="5615308"/>
              <a:ext cx="0" cy="18002"/>
            </a:xfrm>
            <a:prstGeom prst="line">
              <a:avLst/>
            </a:prstGeom>
            <a:noFill/>
            <a:ln w="12700" cap="flat">
              <a:solidFill>
                <a:schemeClr val="bg2">
                  <a:lumMod val="50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111" name="Стрелка вниз 110"/>
          <p:cNvSpPr/>
          <p:nvPr/>
        </p:nvSpPr>
        <p:spPr>
          <a:xfrm>
            <a:off x="4355976" y="3798332"/>
            <a:ext cx="542872" cy="504056"/>
          </a:xfrm>
          <a:prstGeom prst="downArrow">
            <a:avLst/>
          </a:prstGeom>
          <a:solidFill>
            <a:schemeClr val="accent4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972248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ашивка 3"/>
          <p:cNvSpPr/>
          <p:nvPr/>
        </p:nvSpPr>
        <p:spPr>
          <a:xfrm>
            <a:off x="251520" y="1340768"/>
            <a:ext cx="2016224" cy="424685"/>
          </a:xfrm>
          <a:prstGeom prst="chevron">
            <a:avLst>
              <a:gd name="adj" fmla="val 7377"/>
            </a:avLst>
          </a:prstGeom>
          <a:solidFill>
            <a:schemeClr val="bg2">
              <a:lumMod val="50000"/>
            </a:schemeClr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b="1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ea typeface="Helvetica Light"/>
                <a:cs typeface="Helvetica Light"/>
                <a:sym typeface="Helvetica Light"/>
              </a:rPr>
              <a:t>ТЭЦ</a:t>
            </a:r>
            <a:endParaRPr kumimoji="0" lang="ru-RU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1" name="Нашивка 10"/>
          <p:cNvSpPr/>
          <p:nvPr/>
        </p:nvSpPr>
        <p:spPr>
          <a:xfrm>
            <a:off x="2339752" y="1348131"/>
            <a:ext cx="2304256" cy="424685"/>
          </a:xfrm>
          <a:prstGeom prst="chevron">
            <a:avLst>
              <a:gd name="adj" fmla="val 7377"/>
            </a:avLst>
          </a:prstGeom>
          <a:solidFill>
            <a:schemeClr val="bg2">
              <a:lumMod val="50000"/>
            </a:schemeClr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b="1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ea typeface="Helvetica Light"/>
                <a:cs typeface="Helvetica Light"/>
                <a:sym typeface="Helvetica Light"/>
              </a:rPr>
              <a:t>ТЕПЛОСЕТЬ</a:t>
            </a:r>
            <a:endParaRPr kumimoji="0" lang="ru-RU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2" name="Нашивка 11"/>
          <p:cNvSpPr/>
          <p:nvPr/>
        </p:nvSpPr>
        <p:spPr>
          <a:xfrm>
            <a:off x="4788025" y="1348131"/>
            <a:ext cx="4198685" cy="424685"/>
          </a:xfrm>
          <a:prstGeom prst="chevron">
            <a:avLst>
              <a:gd name="adj" fmla="val 7377"/>
            </a:avLst>
          </a:prstGeom>
          <a:solidFill>
            <a:schemeClr val="bg2">
              <a:lumMod val="50000"/>
            </a:schemeClr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b="1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ea typeface="Helvetica Light"/>
                <a:cs typeface="Helvetica Light"/>
                <a:sym typeface="Helvetica Light"/>
              </a:rPr>
              <a:t>ИТП</a:t>
            </a:r>
            <a:endParaRPr kumimoji="0" lang="ru-RU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3" name="Прямоугольник 12"/>
          <p:cNvSpPr>
            <a:spLocks noChangeArrowheads="1"/>
          </p:cNvSpPr>
          <p:nvPr/>
        </p:nvSpPr>
        <p:spPr bwMode="auto">
          <a:xfrm>
            <a:off x="259135" y="1878698"/>
            <a:ext cx="200860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defRPr/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Tahoma" pitchFamily="34" charset="0"/>
              </a:rPr>
              <a:t>Средства из программы реконструкции объектов генерации</a:t>
            </a:r>
          </a:p>
        </p:txBody>
      </p:sp>
      <p:sp>
        <p:nvSpPr>
          <p:cNvPr id="14" name="Прямоугольник 13"/>
          <p:cNvSpPr>
            <a:spLocks noChangeArrowheads="1"/>
          </p:cNvSpPr>
          <p:nvPr/>
        </p:nvSpPr>
        <p:spPr bwMode="auto">
          <a:xfrm>
            <a:off x="2267744" y="1878697"/>
            <a:ext cx="2376264" cy="1118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1450" indent="-17145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Tahoma" pitchFamily="34" charset="0"/>
              </a:rPr>
              <a:t>Эффект от </a:t>
            </a:r>
            <a:b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Tahoma" pitchFamily="34" charset="0"/>
              </a:rPr>
            </a:b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Tahoma" pitchFamily="34" charset="0"/>
              </a:rPr>
              <a:t>снижения потерь 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cs typeface="Tahoma" pitchFamily="34" charset="0"/>
              </a:rPr>
              <a:t>и </a:t>
            </a: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Tahoma" pitchFamily="34" charset="0"/>
              </a:rPr>
              <a:t>эксплуатационных 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cs typeface="Tahoma" pitchFamily="34" charset="0"/>
              </a:rPr>
              <a:t>затрат</a:t>
            </a:r>
          </a:p>
          <a:p>
            <a:pPr marL="171450" indent="-171450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Tahoma" pitchFamily="34" charset="0"/>
              </a:rPr>
              <a:t>Тариф на передачу тепловой энергии</a:t>
            </a:r>
          </a:p>
        </p:txBody>
      </p:sp>
      <p:sp>
        <p:nvSpPr>
          <p:cNvPr id="15" name="Прямоугольник 14"/>
          <p:cNvSpPr>
            <a:spLocks noChangeArrowheads="1"/>
          </p:cNvSpPr>
          <p:nvPr/>
        </p:nvSpPr>
        <p:spPr bwMode="auto">
          <a:xfrm>
            <a:off x="4716016" y="1795076"/>
            <a:ext cx="3384376" cy="564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1450" indent="-171450" algn="just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Tahoma" pitchFamily="34" charset="0"/>
              </a:rPr>
              <a:t>Надбавка к тарифу </a:t>
            </a:r>
          </a:p>
          <a:p>
            <a:pPr marL="171450" indent="-171450" algn="just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endParaRPr lang="ru-RU" sz="1200" b="1" dirty="0" smtClean="0">
              <a:solidFill>
                <a:schemeClr val="tx1">
                  <a:lumMod val="65000"/>
                  <a:lumOff val="35000"/>
                </a:schemeClr>
              </a:solidFill>
              <a:cs typeface="Tahoma" pitchFamily="34" charset="0"/>
            </a:endParaRPr>
          </a:p>
        </p:txBody>
      </p:sp>
      <p:sp>
        <p:nvSpPr>
          <p:cNvPr id="16" name="Прямоугольник 15"/>
          <p:cNvSpPr>
            <a:spLocks noChangeArrowheads="1"/>
          </p:cNvSpPr>
          <p:nvPr/>
        </p:nvSpPr>
        <p:spPr bwMode="auto">
          <a:xfrm>
            <a:off x="4898082" y="2062009"/>
            <a:ext cx="399439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Bef>
                <a:spcPts val="400"/>
              </a:spcBef>
              <a:spcAft>
                <a:spcPts val="400"/>
              </a:spcAft>
              <a:defRPr/>
            </a:pPr>
            <a:r>
              <a:rPr lang="ru-RU" sz="1200" dirty="0" smtClean="0">
                <a:solidFill>
                  <a:srgbClr val="C00000"/>
                </a:solidFill>
                <a:cs typeface="Tahoma" pitchFamily="34" charset="0"/>
              </a:rPr>
              <a:t>Не позволяет устанавливать ИТП в необходимом масштабе, лишь единичные установки</a:t>
            </a:r>
          </a:p>
        </p:txBody>
      </p:sp>
      <p:sp>
        <p:nvSpPr>
          <p:cNvPr id="17" name="Прямоугольник 16"/>
          <p:cNvSpPr>
            <a:spLocks noChangeArrowheads="1"/>
          </p:cNvSpPr>
          <p:nvPr/>
        </p:nvSpPr>
        <p:spPr bwMode="auto">
          <a:xfrm>
            <a:off x="4716016" y="2504703"/>
            <a:ext cx="3733840" cy="564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1450" indent="-171450" algn="just"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Tahoma" pitchFamily="34" charset="0"/>
              </a:rPr>
              <a:t>Энергосервисный контракт (ЭСК)</a:t>
            </a:r>
          </a:p>
          <a:p>
            <a:pPr marL="171450" indent="-171450" algn="just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endParaRPr lang="ru-RU" sz="1200" b="1" dirty="0" smtClean="0">
              <a:solidFill>
                <a:schemeClr val="tx1">
                  <a:lumMod val="65000"/>
                  <a:lumOff val="35000"/>
                </a:schemeClr>
              </a:solidFill>
              <a:cs typeface="Tahoma" pitchFamily="34" charset="0"/>
            </a:endParaRPr>
          </a:p>
        </p:txBody>
      </p:sp>
      <p:sp>
        <p:nvSpPr>
          <p:cNvPr id="18" name="Прямоугольник 17"/>
          <p:cNvSpPr>
            <a:spLocks noChangeArrowheads="1"/>
          </p:cNvSpPr>
          <p:nvPr/>
        </p:nvSpPr>
        <p:spPr bwMode="auto">
          <a:xfrm>
            <a:off x="4860032" y="2814027"/>
            <a:ext cx="216024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defRPr/>
            </a:pPr>
            <a:r>
              <a:rPr lang="ru-RU" sz="1200" dirty="0" smtClean="0">
                <a:solidFill>
                  <a:srgbClr val="C00000"/>
                </a:solidFill>
                <a:cs typeface="Tahoma" pitchFamily="34" charset="0"/>
              </a:rPr>
              <a:t>а)</a:t>
            </a:r>
            <a:r>
              <a:rPr lang="ru-RU" sz="1200" b="1" dirty="0" smtClean="0">
                <a:solidFill>
                  <a:srgbClr val="C00000"/>
                </a:solidFill>
                <a:cs typeface="Tahoma" pitchFamily="34" charset="0"/>
              </a:rPr>
              <a:t> </a:t>
            </a:r>
            <a:r>
              <a:rPr lang="ru-RU" sz="1200" dirty="0" smtClean="0">
                <a:solidFill>
                  <a:srgbClr val="C00000"/>
                </a:solidFill>
                <a:cs typeface="Tahoma" pitchFamily="34" charset="0"/>
              </a:rPr>
              <a:t>Сложность быстрого проведения большого числа собраний собственников жилья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732240" y="2854677"/>
            <a:ext cx="24117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400"/>
              </a:spcBef>
              <a:spcAft>
                <a:spcPts val="400"/>
              </a:spcAft>
              <a:defRPr/>
            </a:pPr>
            <a:r>
              <a:rPr lang="ru-RU" sz="1200" dirty="0">
                <a:solidFill>
                  <a:srgbClr val="C00000"/>
                </a:solidFill>
                <a:cs typeface="Tahoma" pitchFamily="34" charset="0"/>
              </a:rPr>
              <a:t>б) отсутствие гарантий положительного </a:t>
            </a:r>
            <a:r>
              <a:rPr lang="ru-RU" sz="1200" dirty="0" smtClean="0">
                <a:solidFill>
                  <a:srgbClr val="C00000"/>
                </a:solidFill>
                <a:cs typeface="Tahoma" pitchFamily="34" charset="0"/>
              </a:rPr>
              <a:t>решения собственников жилья </a:t>
            </a:r>
            <a:r>
              <a:rPr lang="ru-RU" sz="1200" dirty="0">
                <a:solidFill>
                  <a:srgbClr val="C00000"/>
                </a:solidFill>
                <a:cs typeface="Tahoma" pitchFamily="34" charset="0"/>
              </a:rPr>
              <a:t>по ИТП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860032" y="3667671"/>
            <a:ext cx="396044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Bef>
                <a:spcPts val="400"/>
              </a:spcBef>
              <a:spcAft>
                <a:spcPts val="400"/>
              </a:spcAft>
              <a:defRPr/>
            </a:pPr>
            <a:r>
              <a:rPr lang="ru-RU" sz="1100" b="1" dirty="0">
                <a:solidFill>
                  <a:srgbClr val="C00000"/>
                </a:solidFill>
                <a:cs typeface="Tahoma" pitchFamily="34" charset="0"/>
              </a:rPr>
              <a:t>не позволяют использовать ЭСК для реализации проекта нужными темпами и препятствует привлечению проектного капитала под ЭСК 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2267744" y="1878698"/>
            <a:ext cx="0" cy="2414398"/>
          </a:xfrm>
          <a:prstGeom prst="line">
            <a:avLst/>
          </a:prstGeom>
          <a:noFill/>
          <a:ln w="3175" cap="flat">
            <a:solidFill>
              <a:schemeClr val="bg1">
                <a:lumMod val="65000"/>
              </a:schemeClr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4707632" y="1878698"/>
            <a:ext cx="0" cy="2414398"/>
          </a:xfrm>
          <a:prstGeom prst="line">
            <a:avLst/>
          </a:prstGeom>
          <a:noFill/>
          <a:ln w="3175" cap="flat">
            <a:solidFill>
              <a:schemeClr val="bg1">
                <a:lumMod val="65000"/>
              </a:schemeClr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5" name="Овал 54"/>
          <p:cNvSpPr/>
          <p:nvPr/>
        </p:nvSpPr>
        <p:spPr>
          <a:xfrm>
            <a:off x="3082788" y="4800253"/>
            <a:ext cx="1777243" cy="1685602"/>
          </a:xfrm>
          <a:prstGeom prst="ellipse">
            <a:avLst/>
          </a:prstGeom>
          <a:noFill/>
          <a:ln w="38100" cap="flat">
            <a:solidFill>
              <a:schemeClr val="bg2">
                <a:lumMod val="50000"/>
              </a:schemeClr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spc="0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FillTx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-26610" y="5088280"/>
            <a:ext cx="2160240" cy="108747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spc="0" normalizeH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Решение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spc="0" normalizeH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проблемы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spc="0" normalizeH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финансирования </a:t>
            </a:r>
            <a:br>
              <a:rPr kumimoji="0" lang="ru-RU" sz="1600" b="1" i="0" u="none" strike="noStrike" cap="none" spc="0" normalizeH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</a:br>
            <a:r>
              <a:rPr kumimoji="0" lang="ru-RU" sz="1600" b="1" i="0" u="none" strike="noStrike" cap="none" spc="0" normalizeH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ИТП</a:t>
            </a:r>
            <a:endParaRPr kumimoji="0" lang="ru-RU" sz="1600" b="1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80" name="Прямоугольник 79"/>
          <p:cNvSpPr>
            <a:spLocks noChangeArrowheads="1"/>
          </p:cNvSpPr>
          <p:nvPr/>
        </p:nvSpPr>
        <p:spPr bwMode="auto">
          <a:xfrm>
            <a:off x="5796136" y="4653136"/>
            <a:ext cx="3275856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defRPr/>
            </a:pPr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  <a:cs typeface="Tahoma" pitchFamily="34" charset="0"/>
              </a:rPr>
              <a:t>Для 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  <a:cs typeface="Tahoma" pitchFamily="34" charset="0"/>
              </a:rPr>
              <a:t>вывода проекта </a:t>
            </a:r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  <a:cs typeface="Tahoma" pitchFamily="34" charset="0"/>
              </a:rPr>
              <a:t>в 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  <a:cs typeface="Tahoma" pitchFamily="34" charset="0"/>
              </a:rPr>
              <a:t>крупный </a:t>
            </a:r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  <a:cs typeface="Tahoma" pitchFamily="34" charset="0"/>
              </a:rPr>
              <a:t>масштаб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  <a:cs typeface="Tahoma" pitchFamily="34" charset="0"/>
              </a:rPr>
              <a:t>,  </a:t>
            </a:r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  <a:cs typeface="Tahoma" pitchFamily="34" charset="0"/>
              </a:rPr>
              <a:t>Т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  <a:cs typeface="Tahoma" pitchFamily="34" charset="0"/>
              </a:rPr>
              <a:t>+ </a:t>
            </a:r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  <a:cs typeface="Tahoma" pitchFamily="34" charset="0"/>
              </a:rPr>
              <a:t>совместно с финансовыми институтами развития разработал схему установки ИТП с привлечением внебюджетных денежных средств и 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  <a:cs typeface="Tahoma" pitchFamily="34" charset="0"/>
              </a:rPr>
              <a:t>использованием средств </a:t>
            </a:r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  <a:cs typeface="Tahoma" pitchFamily="34" charset="0"/>
              </a:rPr>
              <a:t>регионального 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  <a:cs typeface="Tahoma" pitchFamily="34" charset="0"/>
              </a:rPr>
              <a:t>фонда </a:t>
            </a:r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  <a:cs typeface="Tahoma" pitchFamily="34" charset="0"/>
              </a:rPr>
              <a:t>капремонта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339752" y="5325708"/>
            <a:ext cx="1418729" cy="74892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«Длинные»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 и «дешевые» </a:t>
            </a:r>
            <a:b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</a:b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деньги</a:t>
            </a:r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3419872" y="6351324"/>
            <a:ext cx="1190178" cy="31803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Инвесторы</a:t>
            </a:r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4288378" y="5373216"/>
            <a:ext cx="1219726" cy="533479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Источники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возврата</a:t>
            </a:r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3419872" y="4581128"/>
            <a:ext cx="1080121" cy="31803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Гарантии</a:t>
            </a:r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ea typeface="+mn-ea"/>
              <a:cs typeface="+mn-cs"/>
              <a:sym typeface="Arial"/>
            </a:endParaRPr>
          </a:p>
        </p:txBody>
      </p:sp>
      <p:cxnSp>
        <p:nvCxnSpPr>
          <p:cNvPr id="71" name="Прямая соединительная линия 70"/>
          <p:cNvCxnSpPr/>
          <p:nvPr/>
        </p:nvCxnSpPr>
        <p:spPr>
          <a:xfrm>
            <a:off x="85282" y="4437112"/>
            <a:ext cx="8708580" cy="0"/>
          </a:xfrm>
          <a:prstGeom prst="line">
            <a:avLst/>
          </a:prstGeom>
          <a:noFill/>
          <a:ln w="3175" cap="flat">
            <a:solidFill>
              <a:schemeClr val="bg1">
                <a:lumMod val="50000"/>
              </a:schemeClr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3" name="Стрелка вправо 82"/>
          <p:cNvSpPr/>
          <p:nvPr/>
        </p:nvSpPr>
        <p:spPr>
          <a:xfrm>
            <a:off x="2051720" y="5175188"/>
            <a:ext cx="288032" cy="937458"/>
          </a:xfrm>
          <a:prstGeom prst="rightArrow">
            <a:avLst/>
          </a:prstGeom>
          <a:solidFill>
            <a:schemeClr val="bg2">
              <a:lumMod val="50000"/>
            </a:schemeClr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84" name="Стрелка вправо 83"/>
          <p:cNvSpPr/>
          <p:nvPr/>
        </p:nvSpPr>
        <p:spPr>
          <a:xfrm>
            <a:off x="5508104" y="5175188"/>
            <a:ext cx="288032" cy="937458"/>
          </a:xfrm>
          <a:prstGeom prst="rightArrow">
            <a:avLst/>
          </a:prstGeom>
          <a:solidFill>
            <a:schemeClr val="bg2">
              <a:lumMod val="50000"/>
            </a:schemeClr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26" name="Заголовок 2"/>
          <p:cNvSpPr txBox="1">
            <a:spLocks/>
          </p:cNvSpPr>
          <p:nvPr/>
        </p:nvSpPr>
        <p:spPr>
          <a:xfrm>
            <a:off x="1763688" y="321340"/>
            <a:ext cx="6718998" cy="731396"/>
          </a:xfrm>
          <a:prstGeom prst="rect">
            <a:avLst/>
          </a:prstGeom>
        </p:spPr>
        <p:txBody>
          <a:bodyPr anchor="b">
            <a:noAutofit/>
          </a:bodyPr>
          <a:lstStyle>
            <a:lvl1pPr defTabSz="410751">
              <a:defRPr sz="3100" baseline="0">
                <a:solidFill>
                  <a:srgbClr val="525E6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1pPr>
            <a:lvl2pPr indent="160729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indent="321457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indent="482186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indent="642915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indent="803643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indent="964372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indent="1125101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indent="1285829" defTabSz="410751">
              <a:defRPr sz="5600">
                <a:solidFill>
                  <a:srgbClr val="525E6B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defTabSz="584200" latinLnBrk="1" hangingPunct="0"/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Финансирование проектов </a:t>
            </a:r>
            <a:b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</a:br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по модернизации</a:t>
            </a:r>
            <a:r>
              <a:rPr lang="ru-RU" sz="2400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24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систем теплоснабжения</a:t>
            </a:r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 </a:t>
            </a:r>
            <a:endParaRPr lang="ru-RU" sz="2400" dirty="0">
              <a:solidFill>
                <a:schemeClr val="bg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29" name="Номер слайда 2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85710F0-95CE-41ED-9A90-13AF48BDBFF5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295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/>
          <p:cNvSpPr/>
          <p:nvPr/>
        </p:nvSpPr>
        <p:spPr>
          <a:xfrm>
            <a:off x="4355976" y="3012966"/>
            <a:ext cx="1440160" cy="1294077"/>
          </a:xfrm>
          <a:prstGeom prst="rect">
            <a:avLst/>
          </a:prstGeom>
          <a:noFill/>
          <a:ln w="3175" cap="flat">
            <a:solidFill>
              <a:schemeClr val="bg2">
                <a:lumMod val="50000"/>
              </a:schemeClr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584200" latinLnBrk="1" hangingPunct="0"/>
            <a:endParaRPr lang="ru-RU" sz="1200" b="1" dirty="0">
              <a:solidFill>
                <a:srgbClr val="FFFFFF"/>
              </a:solidFill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4355976" y="2060848"/>
            <a:ext cx="1440160" cy="1051364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>
            <a:solidFill>
              <a:schemeClr val="bg2">
                <a:lumMod val="50000"/>
              </a:schemeClr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6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  <a:sym typeface="Helvetica Light"/>
              </a:rPr>
              <a:t>Проектная </a:t>
            </a:r>
            <a:r>
              <a:rPr lang="en-US" sz="16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  <a:sym typeface="Helvetica Light"/>
              </a:rPr>
              <a:t/>
            </a:r>
            <a:br>
              <a:rPr lang="en-US" sz="16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  <a:sym typeface="Helvetica Light"/>
              </a:rPr>
            </a:br>
            <a:r>
              <a:rPr lang="ru-RU" sz="16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  <a:sym typeface="Helvetica Light"/>
              </a:rPr>
              <a:t>компания </a:t>
            </a:r>
            <a:r>
              <a:rPr lang="en-US" sz="16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  <a:sym typeface="Helvetica Light"/>
              </a:rPr>
              <a:t/>
            </a:r>
            <a:br>
              <a:rPr lang="en-US" sz="16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  <a:sym typeface="Helvetica Light"/>
              </a:rPr>
            </a:br>
            <a:r>
              <a:rPr lang="en-US" sz="16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  <a:sym typeface="Helvetica Light"/>
              </a:rPr>
              <a:t>(SPV)</a:t>
            </a:r>
            <a:endParaRPr kumimoji="0" lang="ru-RU" sz="1600" b="1" i="0" u="none" strike="noStrike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FillTx/>
              <a:ea typeface="Tahoma" panose="020B0604030504040204" pitchFamily="34" charset="0"/>
              <a:cs typeface="Tahoma" panose="020B0604030504040204" pitchFamily="34" charset="0"/>
              <a:sym typeface="Helvetica Light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7092280" y="2161612"/>
            <a:ext cx="1728192" cy="705272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584200" latinLnBrk="1" hangingPunct="0"/>
            <a:r>
              <a:rPr lang="ru-RU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  <a:sym typeface="Helvetica Light"/>
              </a:rPr>
              <a:t>Муниципалитет</a:t>
            </a:r>
          </a:p>
          <a:p>
            <a:pPr algn="ctr" defTabSz="584200" latinLnBrk="1" hangingPunct="0"/>
            <a:r>
              <a:rPr lang="ru-RU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  <a:sym typeface="Helvetica Light"/>
              </a:rPr>
              <a:t>(регион)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7085209" y="3356992"/>
            <a:ext cx="1735263" cy="849286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584200" latinLnBrk="1" hangingPunct="0"/>
            <a:r>
              <a:rPr lang="ru-RU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  <a:sym typeface="Helvetica Light"/>
              </a:rPr>
              <a:t>Региональный </a:t>
            </a:r>
          </a:p>
          <a:p>
            <a:pPr algn="ctr" defTabSz="584200" latinLnBrk="1" hangingPunct="0"/>
            <a:r>
              <a:rPr lang="ru-RU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  <a:sym typeface="Helvetica Light"/>
              </a:rPr>
              <a:t>фонд </a:t>
            </a:r>
            <a:r>
              <a:rPr lang="ru-RU" sz="16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  <a:sym typeface="Helvetica Light"/>
              </a:rPr>
              <a:t/>
            </a:r>
            <a:br>
              <a:rPr lang="ru-RU" sz="16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  <a:sym typeface="Helvetica Light"/>
              </a:rPr>
            </a:br>
            <a:r>
              <a:rPr lang="ru-RU" sz="16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  <a:sym typeface="Helvetica Light"/>
              </a:rPr>
              <a:t>капремонта</a:t>
            </a:r>
            <a:endParaRPr lang="ru-RU" sz="16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  <a:sym typeface="Helvetica Ligh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439983" y="3182199"/>
            <a:ext cx="1212137" cy="71814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реализация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проектов по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установке ИТП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000" b="1" i="0" u="none" strike="noStrike" cap="none" spc="0" normalizeH="0" baseline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ea typeface="+mn-ea"/>
              <a:cs typeface="+mn-cs"/>
              <a:sym typeface="Arial"/>
            </a:endParaRPr>
          </a:p>
        </p:txBody>
      </p:sp>
      <p:cxnSp>
        <p:nvCxnSpPr>
          <p:cNvPr id="38" name="Прямая со стрелкой 37"/>
          <p:cNvCxnSpPr/>
          <p:nvPr/>
        </p:nvCxnSpPr>
        <p:spPr>
          <a:xfrm>
            <a:off x="5859000" y="2636914"/>
            <a:ext cx="1224136" cy="0"/>
          </a:xfrm>
          <a:prstGeom prst="straightConnector1">
            <a:avLst/>
          </a:prstGeom>
          <a:noFill/>
          <a:ln w="19050" cap="flat">
            <a:solidFill>
              <a:srgbClr val="000000"/>
            </a:solidFill>
            <a:prstDash val="solid"/>
            <a:miter lim="400000"/>
            <a:headEnd type="triangle" w="med" len="med"/>
            <a:tailEnd type="triangle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9" name="TextBox 38"/>
          <p:cNvSpPr txBox="1"/>
          <p:nvPr/>
        </p:nvSpPr>
        <p:spPr>
          <a:xfrm>
            <a:off x="5786992" y="2026488"/>
            <a:ext cx="1233280" cy="61042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05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Arial"/>
              </a:rPr>
              <a:t>Концессионное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05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Arial"/>
              </a:rPr>
              <a:t>соглашение на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05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Arial"/>
              </a:rPr>
              <a:t>установку ИТП</a:t>
            </a:r>
            <a:endParaRPr kumimoji="0" lang="ru-RU" sz="105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Arial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610297" y="2276872"/>
            <a:ext cx="153391" cy="28725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R="0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sz="1200" b="1" dirty="0" smtClean="0">
                <a:solidFill>
                  <a:srgbClr val="C00000"/>
                </a:solidFill>
                <a:sym typeface="Arial"/>
              </a:rPr>
              <a:t>$</a:t>
            </a:r>
            <a:endParaRPr lang="ru-RU" sz="1200" b="1" dirty="0" smtClean="0">
              <a:solidFill>
                <a:srgbClr val="C00000"/>
              </a:solidFill>
              <a:sym typeface="Arial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587924" y="3873435"/>
            <a:ext cx="1555123" cy="779701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0" u="none" strike="noStrike" cap="none" spc="0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uFillTx/>
                <a:ea typeface="+mn-ea"/>
                <a:cs typeface="+mn-cs"/>
                <a:sym typeface="Arial"/>
              </a:rPr>
              <a:t>Ежегодные</a:t>
            </a:r>
            <a:r>
              <a:rPr kumimoji="0" lang="ru-RU" sz="1100" b="1" i="0" u="none" strike="noStrike" cap="none" spc="0" normalizeH="0" dirty="0" smtClean="0">
                <a:ln>
                  <a:noFill/>
                </a:ln>
                <a:solidFill>
                  <a:srgbClr val="C00000"/>
                </a:solidFill>
                <a:effectLst/>
                <a:uFillTx/>
                <a:ea typeface="+mn-ea"/>
                <a:cs typeface="+mn-cs"/>
                <a:sym typeface="Arial"/>
              </a:rPr>
              <a:t>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0" u="none" strike="noStrike" cap="none" spc="0" normalizeH="0" dirty="0" smtClean="0">
                <a:ln>
                  <a:noFill/>
                </a:ln>
                <a:solidFill>
                  <a:srgbClr val="C00000"/>
                </a:solidFill>
                <a:effectLst/>
                <a:uFillTx/>
                <a:ea typeface="+mn-ea"/>
                <a:cs typeface="+mn-cs"/>
                <a:sym typeface="Arial"/>
              </a:rPr>
              <a:t>платежи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0" u="none" strike="noStrike" cap="none" spc="0" normalizeH="0" dirty="0" smtClean="0">
                <a:ln>
                  <a:noFill/>
                </a:ln>
                <a:solidFill>
                  <a:srgbClr val="C00000"/>
                </a:solidFill>
                <a:effectLst/>
                <a:uFillTx/>
                <a:ea typeface="+mn-ea"/>
                <a:cs typeface="+mn-cs"/>
                <a:sym typeface="Arial"/>
              </a:rPr>
              <a:t>(возврат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0" u="none" strike="noStrike" cap="none" spc="0" normalizeH="0" dirty="0" smtClean="0">
                <a:ln>
                  <a:noFill/>
                </a:ln>
                <a:solidFill>
                  <a:srgbClr val="C00000"/>
                </a:solidFill>
                <a:effectLst/>
                <a:uFillTx/>
                <a:ea typeface="+mn-ea"/>
                <a:cs typeface="+mn-cs"/>
                <a:sym typeface="Arial"/>
              </a:rPr>
              <a:t>инвестиций)</a:t>
            </a:r>
            <a:endParaRPr kumimoji="0" lang="ru-RU" sz="1100" b="1" i="0" u="none" strike="noStrike" cap="none" spc="0" normalizeH="0" baseline="0" dirty="0">
              <a:ln>
                <a:noFill/>
              </a:ln>
              <a:solidFill>
                <a:srgbClr val="C00000"/>
              </a:solidFill>
              <a:effectLst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1979712" y="2060848"/>
            <a:ext cx="1465492" cy="1123371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584200" latinLnBrk="1" hangingPunct="0"/>
            <a:r>
              <a:rPr lang="ru-RU" sz="1600" b="1" dirty="0" smtClean="0">
                <a:solidFill>
                  <a:schemeClr val="bg1"/>
                </a:solidFill>
                <a:cs typeface="Tahoma" pitchFamily="34" charset="0"/>
              </a:rPr>
              <a:t>Финансовые </a:t>
            </a:r>
            <a:br>
              <a:rPr lang="ru-RU" sz="1600" b="1" dirty="0" smtClean="0">
                <a:solidFill>
                  <a:schemeClr val="bg1"/>
                </a:solidFill>
                <a:cs typeface="Tahoma" pitchFamily="34" charset="0"/>
              </a:rPr>
            </a:br>
            <a:r>
              <a:rPr lang="ru-RU" sz="1600" b="1" dirty="0" smtClean="0">
                <a:solidFill>
                  <a:schemeClr val="bg1"/>
                </a:solidFill>
                <a:cs typeface="Tahoma" pitchFamily="34" charset="0"/>
              </a:rPr>
              <a:t>институты </a:t>
            </a:r>
          </a:p>
          <a:p>
            <a:pPr algn="ctr" defTabSz="584200" latinLnBrk="1" hangingPunct="0"/>
            <a:r>
              <a:rPr lang="ru-RU" sz="1600" b="1" dirty="0" smtClean="0">
                <a:solidFill>
                  <a:schemeClr val="bg1"/>
                </a:solidFill>
                <a:cs typeface="Tahoma" pitchFamily="34" charset="0"/>
              </a:rPr>
              <a:t>развития</a:t>
            </a:r>
            <a:endParaRPr lang="ru-RU" sz="1600" b="1" dirty="0">
              <a:solidFill>
                <a:schemeClr val="bg1"/>
              </a:solidFill>
              <a:ea typeface="Tahoma" panose="020B0604030504040204" pitchFamily="34" charset="0"/>
              <a:cs typeface="Tahoma" panose="020B0604030504040204" pitchFamily="34" charset="0"/>
              <a:sym typeface="Helvetica Light"/>
            </a:endParaRPr>
          </a:p>
        </p:txBody>
      </p:sp>
      <p:cxnSp>
        <p:nvCxnSpPr>
          <p:cNvPr id="43" name="Прямая со стрелкой 42"/>
          <p:cNvCxnSpPr/>
          <p:nvPr/>
        </p:nvCxnSpPr>
        <p:spPr>
          <a:xfrm flipH="1" flipV="1">
            <a:off x="3491880" y="2636912"/>
            <a:ext cx="792088" cy="2"/>
          </a:xfrm>
          <a:prstGeom prst="straightConnector1">
            <a:avLst/>
          </a:prstGeom>
          <a:noFill/>
          <a:ln w="38100" cap="flat">
            <a:solidFill>
              <a:srgbClr val="C00000"/>
            </a:solidFill>
            <a:prstDash val="solid"/>
            <a:miter lim="400000"/>
            <a:headEnd type="triangle" w="med" len="med"/>
            <a:tailEnd type="none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4" name="TextBox 43"/>
          <p:cNvSpPr txBox="1"/>
          <p:nvPr/>
        </p:nvSpPr>
        <p:spPr>
          <a:xfrm>
            <a:off x="2131540" y="1639985"/>
            <a:ext cx="1152128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Инвестор</a:t>
            </a:r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308226" y="2333492"/>
            <a:ext cx="1191766" cy="27186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dirty="0" smtClean="0">
                <a:solidFill>
                  <a:srgbClr val="C00000"/>
                </a:solidFill>
                <a:sym typeface="Arial"/>
              </a:rPr>
              <a:t>И</a:t>
            </a:r>
            <a:r>
              <a:rPr kumimoji="0" lang="ru-RU" sz="1100" b="1" i="0" u="none" strike="noStrike" cap="none" spc="0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uFillTx/>
                <a:sym typeface="Arial"/>
              </a:rPr>
              <a:t>нвестиции</a:t>
            </a:r>
            <a:endParaRPr kumimoji="0" lang="ru-RU" sz="1100" b="1" i="0" u="none" strike="noStrike" cap="none" spc="0" normalizeH="0" baseline="0" dirty="0">
              <a:ln>
                <a:noFill/>
              </a:ln>
              <a:solidFill>
                <a:srgbClr val="C00000"/>
              </a:solidFill>
              <a:effectLst/>
              <a:uFillTx/>
              <a:sym typeface="Arial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491880" y="2132856"/>
            <a:ext cx="153391" cy="28725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R="0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sz="1200" b="1" dirty="0" smtClean="0">
                <a:solidFill>
                  <a:srgbClr val="C00000"/>
                </a:solidFill>
                <a:sym typeface="Arial"/>
              </a:rPr>
              <a:t>$</a:t>
            </a:r>
            <a:endParaRPr lang="ru-RU" sz="1200" b="1" dirty="0" smtClean="0">
              <a:solidFill>
                <a:srgbClr val="C00000"/>
              </a:solidFill>
              <a:sym typeface="Arial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87324" y="1527369"/>
            <a:ext cx="1152128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Длинные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деньги</a:t>
            </a:r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5731940" y="4695721"/>
            <a:ext cx="1152128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Источник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возврата</a:t>
            </a:r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731940" y="1648107"/>
            <a:ext cx="1152128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Гарантии</a:t>
            </a:r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251520" y="2204864"/>
            <a:ext cx="1296144" cy="731937"/>
          </a:xfrm>
          <a:prstGeom prst="rect">
            <a:avLst/>
          </a:prstGeom>
          <a:noFill/>
          <a:ln w="12700" cap="flat">
            <a:solidFill>
              <a:schemeClr val="bg1">
                <a:lumMod val="65000"/>
              </a:schemeClr>
            </a:solidFill>
            <a:prstDash val="dash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584200" latinLnBrk="1" hangingPunct="0"/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  <a:ea typeface="Helvetica Light"/>
                <a:cs typeface="Helvetica Light"/>
                <a:sym typeface="Helvetica Light"/>
              </a:rPr>
              <a:t>Пенсионные средства</a:t>
            </a:r>
            <a:endParaRPr lang="ru-RU" sz="1600" dirty="0">
              <a:solidFill>
                <a:schemeClr val="bg1">
                  <a:lumMod val="50000"/>
                </a:schemeClr>
              </a:solidFill>
              <a:ea typeface="Helvetica Light"/>
              <a:cs typeface="Helvetica Light"/>
              <a:sym typeface="Helvetica Light"/>
            </a:endParaRPr>
          </a:p>
        </p:txBody>
      </p:sp>
      <p:cxnSp>
        <p:nvCxnSpPr>
          <p:cNvPr id="51" name="Прямая со стрелкой 50"/>
          <p:cNvCxnSpPr/>
          <p:nvPr/>
        </p:nvCxnSpPr>
        <p:spPr>
          <a:xfrm flipH="1" flipV="1">
            <a:off x="1610297" y="2622533"/>
            <a:ext cx="343019" cy="2"/>
          </a:xfrm>
          <a:prstGeom prst="straightConnector1">
            <a:avLst/>
          </a:prstGeom>
          <a:noFill/>
          <a:ln w="38100" cap="flat">
            <a:solidFill>
              <a:srgbClr val="C00000"/>
            </a:solidFill>
            <a:prstDash val="solid"/>
            <a:miter lim="400000"/>
            <a:headEnd type="triangle" w="med" len="med"/>
            <a:tailEnd type="none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52" name="Группа 51"/>
          <p:cNvGrpSpPr/>
          <p:nvPr/>
        </p:nvGrpSpPr>
        <p:grpSpPr>
          <a:xfrm>
            <a:off x="2699792" y="3220653"/>
            <a:ext cx="4383345" cy="640395"/>
            <a:chOff x="2713806" y="2896187"/>
            <a:chExt cx="4398006" cy="640395"/>
          </a:xfrm>
        </p:grpSpPr>
        <p:cxnSp>
          <p:nvCxnSpPr>
            <p:cNvPr id="53" name="Прямая со стрелкой 52"/>
            <p:cNvCxnSpPr/>
            <p:nvPr/>
          </p:nvCxnSpPr>
          <p:spPr>
            <a:xfrm>
              <a:off x="5753025" y="3536581"/>
              <a:ext cx="1358787" cy="1"/>
            </a:xfrm>
            <a:prstGeom prst="straightConnector1">
              <a:avLst/>
            </a:prstGeom>
            <a:noFill/>
            <a:ln w="38100" cap="flat">
              <a:solidFill>
                <a:srgbClr val="C00000"/>
              </a:solidFill>
              <a:prstDash val="solid"/>
              <a:miter lim="400000"/>
              <a:headEnd type="none" w="med" len="med"/>
              <a:tailEnd type="none" w="med" len="med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54" name="Прямая со стрелкой 53"/>
            <p:cNvCxnSpPr/>
            <p:nvPr/>
          </p:nvCxnSpPr>
          <p:spPr>
            <a:xfrm flipV="1">
              <a:off x="4118890" y="3536581"/>
              <a:ext cx="1579317" cy="1"/>
            </a:xfrm>
            <a:prstGeom prst="straightConnector1">
              <a:avLst/>
            </a:prstGeom>
            <a:noFill/>
            <a:ln w="38100" cap="flat">
              <a:solidFill>
                <a:srgbClr val="C00000"/>
              </a:solidFill>
              <a:prstDash val="dash"/>
              <a:miter lim="400000"/>
              <a:headEnd type="none" w="med" len="med"/>
              <a:tailEnd type="none" w="med" len="med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55" name="Прямая со стрелкой 54"/>
            <p:cNvCxnSpPr/>
            <p:nvPr/>
          </p:nvCxnSpPr>
          <p:spPr>
            <a:xfrm>
              <a:off x="2723130" y="2896187"/>
              <a:ext cx="0" cy="640394"/>
            </a:xfrm>
            <a:prstGeom prst="straightConnector1">
              <a:avLst/>
            </a:prstGeom>
            <a:noFill/>
            <a:ln w="38100" cap="flat">
              <a:solidFill>
                <a:srgbClr val="C00000"/>
              </a:solidFill>
              <a:prstDash val="solid"/>
              <a:miter lim="400000"/>
              <a:headEnd type="triangle" w="med" len="med"/>
              <a:tailEnd type="none" w="med" len="med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56" name="Прямая со стрелкой 55"/>
            <p:cNvCxnSpPr/>
            <p:nvPr/>
          </p:nvCxnSpPr>
          <p:spPr>
            <a:xfrm>
              <a:off x="2713806" y="3536581"/>
              <a:ext cx="1656184" cy="1"/>
            </a:xfrm>
            <a:prstGeom prst="straightConnector1">
              <a:avLst/>
            </a:prstGeom>
            <a:noFill/>
            <a:ln w="38100" cap="flat">
              <a:solidFill>
                <a:srgbClr val="C00000"/>
              </a:solidFill>
              <a:prstDash val="solid"/>
              <a:miter lim="400000"/>
              <a:headEnd type="none" w="med" len="med"/>
              <a:tailEnd type="none" w="med" len="med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57" name="Прямоугольник 56"/>
          <p:cNvSpPr/>
          <p:nvPr/>
        </p:nvSpPr>
        <p:spPr>
          <a:xfrm>
            <a:off x="6948264" y="2060848"/>
            <a:ext cx="2016224" cy="2246195"/>
          </a:xfrm>
          <a:prstGeom prst="rect">
            <a:avLst/>
          </a:prstGeom>
          <a:noFill/>
          <a:ln w="3175" cap="flat">
            <a:solidFill>
              <a:schemeClr val="bg2">
                <a:lumMod val="50000"/>
              </a:schemeClr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algn="ctr" defTabSz="584200" latinLnBrk="1" hangingPunct="0"/>
            <a:endParaRPr lang="ru-RU" sz="1200" b="1" dirty="0">
              <a:solidFill>
                <a:srgbClr val="FFFFFF"/>
              </a:solidFill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62894" y="1748274"/>
            <a:ext cx="1152128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285750" marR="0" indent="-28575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200000"/>
              <a:buFont typeface="Wingdings" panose="05000000000000000000" pitchFamily="2" charset="2"/>
              <a:buChar char="ü"/>
              <a:tabLst/>
            </a:pP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 </a:t>
            </a:r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2771800" y="1670804"/>
            <a:ext cx="1152128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285750" marR="0" indent="-28575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200000"/>
              <a:buFont typeface="Wingdings" panose="05000000000000000000" pitchFamily="2" charset="2"/>
              <a:buChar char="ü"/>
              <a:tabLst/>
            </a:pP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 </a:t>
            </a:r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379642" y="1670804"/>
            <a:ext cx="1152128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285750" marR="0" indent="-28575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200000"/>
              <a:buFont typeface="Wingdings" panose="05000000000000000000" pitchFamily="2" charset="2"/>
              <a:buChar char="ü"/>
              <a:tabLst/>
            </a:pP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 </a:t>
            </a:r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444988" y="4881741"/>
            <a:ext cx="1152128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285750" marR="0" indent="-28575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200000"/>
              <a:buFont typeface="Wingdings" panose="05000000000000000000" pitchFamily="2" charset="2"/>
              <a:buChar char="ü"/>
              <a:tabLst/>
            </a:pP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ea typeface="+mn-ea"/>
                <a:cs typeface="+mn-cs"/>
                <a:sym typeface="Arial"/>
              </a:rPr>
              <a:t> </a:t>
            </a:r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FillTx/>
              <a:ea typeface="+mn-ea"/>
              <a:cs typeface="+mn-cs"/>
              <a:sym typeface="Arial"/>
            </a:endParaRPr>
          </a:p>
        </p:txBody>
      </p:sp>
      <p:sp>
        <p:nvSpPr>
          <p:cNvPr id="70" name="Заголовок 2"/>
          <p:cNvSpPr>
            <a:spLocks noGrp="1"/>
          </p:cNvSpPr>
          <p:nvPr>
            <p:ph type="title"/>
          </p:nvPr>
        </p:nvSpPr>
        <p:spPr>
          <a:xfrm>
            <a:off x="1797322" y="249332"/>
            <a:ext cx="6718998" cy="731396"/>
          </a:xfrm>
        </p:spPr>
        <p:txBody>
          <a:bodyPr>
            <a:noAutofit/>
          </a:bodyPr>
          <a:lstStyle/>
          <a:p>
            <a:pPr algn="l"/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</a:rPr>
              <a:t>Принципиальная схема финансирования </a:t>
            </a:r>
            <a:r>
              <a:rPr lang="en-US" sz="2400" dirty="0" smtClean="0">
                <a:solidFill>
                  <a:schemeClr val="bg2">
                    <a:lumMod val="50000"/>
                  </a:schemeClr>
                </a:solidFill>
              </a:rPr>
              <a:t/>
            </a:r>
            <a:br>
              <a:rPr lang="en-US" sz="2400" dirty="0" smtClean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</a:rPr>
              <a:t>и возврата инвестиций</a:t>
            </a:r>
            <a:endParaRPr lang="ru-RU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4413847"/>
            <a:ext cx="3902261" cy="2111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2" name="Номер слайда 81"/>
          <p:cNvSpPr txBox="1">
            <a:spLocks/>
          </p:cNvSpPr>
          <p:nvPr/>
        </p:nvSpPr>
        <p:spPr>
          <a:xfrm>
            <a:off x="8521189" y="6416207"/>
            <a:ext cx="446873" cy="200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18000" anchor="b" anchorCtr="0">
            <a:normAutofit fontScale="55000" lnSpcReduction="20000"/>
          </a:bodyPr>
          <a:lstStyle>
            <a:lvl1pPr defTabSz="410751">
              <a:spcBef>
                <a:spcPts val="0"/>
              </a:spcBef>
              <a:defRPr sz="2500" b="1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1pPr>
            <a:lvl2pPr indent="160729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2pPr>
            <a:lvl3pPr indent="321457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3pPr>
            <a:lvl4pPr indent="482186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4pPr>
            <a:lvl5pPr indent="642915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5pPr>
            <a:lvl6pPr indent="803643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indent="964372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indent="1125101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indent="1285829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r">
              <a:defRPr/>
            </a:pPr>
            <a:fld id="{185710F0-95CE-41ED-9A90-13AF48BDBFF5}" type="slidenum">
              <a:rPr lang="ru-RU" b="0" kern="0" smtClean="0"/>
              <a:pPr algn="r">
                <a:defRPr/>
              </a:pPr>
              <a:t>6</a:t>
            </a:fld>
            <a:endParaRPr lang="ru-RU" b="0" kern="0" dirty="0"/>
          </a:p>
        </p:txBody>
      </p:sp>
    </p:spTree>
    <p:extLst>
      <p:ext uri="{BB962C8B-B14F-4D97-AF65-F5344CB8AC3E}">
        <p14:creationId xmlns:p14="http://schemas.microsoft.com/office/powerpoint/2010/main" val="1405097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2351214" y="1835726"/>
            <a:ext cx="1283209" cy="44114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Кредитование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проектов</a:t>
            </a:r>
            <a:endParaRPr kumimoji="0" lang="ru-RU" sz="1100" b="0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5727220" y="4788054"/>
            <a:ext cx="1075555" cy="44114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Технический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надзор</a:t>
            </a:r>
            <a:endParaRPr kumimoji="0" lang="ru-RU" sz="1100" b="0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344735" y="4725144"/>
            <a:ext cx="1217680" cy="44114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R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ru-RU" sz="1100" b="0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sym typeface="Arial"/>
              </a:rPr>
              <a:t>Корректировка </a:t>
            </a:r>
          </a:p>
          <a:p>
            <a:pPr marR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ru-RU" sz="1100" b="0" i="0" u="none" strike="noStrike" cap="none" spc="0" normalizeH="0" baseline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sym typeface="Arial"/>
              </a:rPr>
              <a:t>программы ФКР</a:t>
            </a:r>
            <a:endParaRPr kumimoji="0" lang="ru-RU" sz="1100" b="0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sym typeface="Arial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4788024" y="1500173"/>
            <a:ext cx="2922253" cy="74892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584200" latinLnBrk="1" hangingPunct="0"/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Проектирование </a:t>
            </a:r>
            <a:br>
              <a:rPr lang="ru-RU" sz="1050" dirty="0" smtClean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</a:br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и установка ИТП </a:t>
            </a:r>
          </a:p>
          <a:p>
            <a:pPr algn="ctr" defTabSz="584200" latinLnBrk="1" hangingPunct="0"/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в рамках договора </a:t>
            </a:r>
          </a:p>
          <a:p>
            <a:pPr algn="ctr" defTabSz="584200" latinLnBrk="1" hangingPunct="0"/>
            <a:r>
              <a:rPr lang="ru-RU" sz="1050" dirty="0" smtClean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с ФКР</a:t>
            </a:r>
            <a:endParaRPr lang="ru-RU" sz="1050" dirty="0">
              <a:solidFill>
                <a:schemeClr val="bg2">
                  <a:lumMod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2483768" y="3466648"/>
            <a:ext cx="2245093" cy="61042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584200" latinLnBrk="1" hangingPunct="0"/>
            <a:r>
              <a:rPr lang="ru-RU" sz="1100" dirty="0" smtClean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Заключение договоров </a:t>
            </a:r>
            <a:br>
              <a:rPr lang="ru-RU" sz="1100" dirty="0" smtClean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</a:br>
            <a:r>
              <a:rPr lang="ru-RU" sz="1100" dirty="0" smtClean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на проектирование </a:t>
            </a:r>
            <a:br>
              <a:rPr lang="ru-RU" sz="1100" dirty="0" smtClean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</a:br>
            <a:r>
              <a:rPr lang="ru-RU" sz="1100" dirty="0" smtClean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и установку ИТП</a:t>
            </a:r>
            <a:endParaRPr lang="ru-RU" sz="1100" dirty="0">
              <a:solidFill>
                <a:schemeClr val="bg2">
                  <a:lumMod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7701483" y="3635926"/>
            <a:ext cx="1432684" cy="44114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584200" latinLnBrk="1" hangingPunct="0"/>
            <a:r>
              <a:rPr lang="ru-RU" sz="11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Обслуживание </a:t>
            </a:r>
            <a:br>
              <a:rPr lang="ru-RU" sz="11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</a:br>
            <a:r>
              <a:rPr lang="ru-RU" sz="1100" dirty="0" smtClean="0">
                <a:solidFill>
                  <a:schemeClr val="bg2">
                    <a:lumMod val="50000"/>
                  </a:schemeClr>
                </a:solidFill>
                <a:sym typeface="Arial"/>
              </a:rPr>
              <a:t>ИТП</a:t>
            </a:r>
            <a:endParaRPr lang="ru-RU" sz="1100" dirty="0">
              <a:solidFill>
                <a:schemeClr val="bg2">
                  <a:lumMod val="50000"/>
                </a:schemeClr>
              </a:solidFill>
              <a:sym typeface="Arial"/>
            </a:endParaRPr>
          </a:p>
        </p:txBody>
      </p:sp>
      <p:sp>
        <p:nvSpPr>
          <p:cNvPr id="27" name="Заголовок 2"/>
          <p:cNvSpPr>
            <a:spLocks noGrp="1"/>
          </p:cNvSpPr>
          <p:nvPr>
            <p:ph type="title"/>
          </p:nvPr>
        </p:nvSpPr>
        <p:spPr>
          <a:xfrm>
            <a:off x="1797322" y="249332"/>
            <a:ext cx="6718998" cy="731396"/>
          </a:xfrm>
        </p:spPr>
        <p:txBody>
          <a:bodyPr>
            <a:noAutofit/>
          </a:bodyPr>
          <a:lstStyle/>
          <a:p>
            <a:pPr algn="l"/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</a:rPr>
              <a:t>Организационная схема</a:t>
            </a:r>
            <a:endParaRPr lang="ru-RU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29" name="Прямая со стрелкой 28"/>
          <p:cNvCxnSpPr/>
          <p:nvPr/>
        </p:nvCxnSpPr>
        <p:spPr>
          <a:xfrm flipH="1">
            <a:off x="2410287" y="2348880"/>
            <a:ext cx="1152128" cy="0"/>
          </a:xfrm>
          <a:prstGeom prst="straightConnector1">
            <a:avLst/>
          </a:prstGeom>
          <a:noFill/>
          <a:ln w="57150" cap="flat">
            <a:solidFill>
              <a:srgbClr val="C00000"/>
            </a:solidFill>
            <a:prstDash val="solid"/>
            <a:miter lim="400000"/>
            <a:headEnd type="triangle" w="med" len="med"/>
            <a:tailEnd type="none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17" name="Группа 16"/>
          <p:cNvGrpSpPr/>
          <p:nvPr/>
        </p:nvGrpSpPr>
        <p:grpSpPr>
          <a:xfrm>
            <a:off x="3634422" y="1283790"/>
            <a:ext cx="1944233" cy="2180593"/>
            <a:chOff x="3491661" y="1283790"/>
            <a:chExt cx="1806976" cy="2180593"/>
          </a:xfrm>
        </p:grpSpPr>
        <p:sp>
          <p:nvSpPr>
            <p:cNvPr id="63" name="Прямоугольник 62"/>
            <p:cNvSpPr/>
            <p:nvPr/>
          </p:nvSpPr>
          <p:spPr>
            <a:xfrm>
              <a:off x="3491878" y="1824886"/>
              <a:ext cx="1806759" cy="1639497"/>
            </a:xfrm>
            <a:prstGeom prst="rect">
              <a:avLst/>
            </a:prstGeom>
            <a:noFill/>
            <a:ln w="12700" cap="flat">
              <a:solidFill>
                <a:schemeClr val="bg2">
                  <a:lumMod val="50000"/>
                </a:schemeClr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t">
              <a:noAutofit/>
            </a:bodyPr>
            <a:lstStyle/>
            <a:p>
              <a:pPr marL="268288" indent="-182563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Участвует в конкурсах </a:t>
              </a:r>
              <a:b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</a:b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на проектирование и установку ИТП</a:t>
              </a:r>
            </a:p>
            <a:p>
              <a:pPr marL="268288" indent="-182563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Привлекает средства на реализацию проекта</a:t>
              </a:r>
            </a:p>
            <a:p>
              <a:pPr marL="268288" indent="-182563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Устанавливает ИТП</a:t>
              </a:r>
            </a:p>
            <a:p>
              <a:pPr marL="268288" indent="-182563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Передает ИТП в ФКР</a:t>
              </a: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3491661" y="1283790"/>
              <a:ext cx="1806759" cy="561034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12700" cap="flat">
              <a:solidFill>
                <a:schemeClr val="bg2">
                  <a:lumMod val="50000"/>
                </a:schemeClr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ru-RU" sz="1400" b="1" dirty="0" smtClean="0">
                  <a:solidFill>
                    <a:srgbClr val="FFFFFF"/>
                  </a:solidFill>
                  <a:ea typeface="Tahoma" panose="020B0604030504040204" pitchFamily="34" charset="0"/>
                  <a:cs typeface="Tahoma" panose="020B0604030504040204" pitchFamily="34" charset="0"/>
                  <a:sym typeface="Helvetica Light"/>
                </a:rPr>
                <a:t>Проектная </a:t>
              </a:r>
              <a:br>
                <a:rPr lang="ru-RU" sz="1400" b="1" dirty="0" smtClean="0">
                  <a:solidFill>
                    <a:srgbClr val="FFFFFF"/>
                  </a:solidFill>
                  <a:ea typeface="Tahoma" panose="020B0604030504040204" pitchFamily="34" charset="0"/>
                  <a:cs typeface="Tahoma" panose="020B0604030504040204" pitchFamily="34" charset="0"/>
                  <a:sym typeface="Helvetica Light"/>
                </a:rPr>
              </a:br>
              <a:r>
                <a:rPr lang="ru-RU" sz="1400" b="1" dirty="0" smtClean="0">
                  <a:solidFill>
                    <a:srgbClr val="FFFFFF"/>
                  </a:solidFill>
                  <a:ea typeface="Tahoma" panose="020B0604030504040204" pitchFamily="34" charset="0"/>
                  <a:cs typeface="Tahoma" panose="020B0604030504040204" pitchFamily="34" charset="0"/>
                  <a:sym typeface="Helvetica Light"/>
                </a:rPr>
                <a:t>компания (</a:t>
              </a:r>
              <a:r>
                <a:rPr lang="en-US" sz="1400" b="1" dirty="0" smtClean="0">
                  <a:solidFill>
                    <a:srgbClr val="FFFFFF"/>
                  </a:solidFill>
                  <a:ea typeface="Tahoma" panose="020B0604030504040204" pitchFamily="34" charset="0"/>
                  <a:cs typeface="Tahoma" panose="020B0604030504040204" pitchFamily="34" charset="0"/>
                  <a:sym typeface="Helvetica Light"/>
                </a:rPr>
                <a:t>SPV</a:t>
              </a:r>
              <a:r>
                <a:rPr lang="ru-RU" sz="1400" b="1" dirty="0" smtClean="0">
                  <a:solidFill>
                    <a:srgbClr val="FFFFFF"/>
                  </a:solidFill>
                  <a:ea typeface="Tahoma" panose="020B0604030504040204" pitchFamily="34" charset="0"/>
                  <a:cs typeface="Tahoma" panose="020B0604030504040204" pitchFamily="34" charset="0"/>
                  <a:sym typeface="Helvetica Light"/>
                </a:rPr>
                <a:t>)</a:t>
              </a:r>
              <a:r>
                <a:rPr kumimoji="0" lang="ru-RU" sz="1400" b="1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ea typeface="Tahoma" panose="020B0604030504040204" pitchFamily="34" charset="0"/>
                  <a:cs typeface="Tahoma" panose="020B0604030504040204" pitchFamily="34" charset="0"/>
                  <a:sym typeface="Helvetica Light"/>
                </a:rPr>
                <a:t>  </a:t>
              </a: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395536" y="1283790"/>
            <a:ext cx="1944216" cy="2180593"/>
            <a:chOff x="323528" y="1283790"/>
            <a:chExt cx="1944216" cy="2180593"/>
          </a:xfrm>
        </p:grpSpPr>
        <p:sp>
          <p:nvSpPr>
            <p:cNvPr id="65" name="Прямоугольник 64"/>
            <p:cNvSpPr/>
            <p:nvPr/>
          </p:nvSpPr>
          <p:spPr>
            <a:xfrm>
              <a:off x="323528" y="1772816"/>
              <a:ext cx="1944216" cy="1691567"/>
            </a:xfrm>
            <a:prstGeom prst="rect">
              <a:avLst/>
            </a:prstGeom>
            <a:noFill/>
            <a:ln w="12700" cap="flat">
              <a:solidFill>
                <a:schemeClr val="bg2">
                  <a:lumMod val="50000"/>
                </a:schemeClr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t">
              <a:noAutofit/>
            </a:bodyPr>
            <a:lstStyle/>
            <a:p>
              <a:pPr marL="268288" indent="-182563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Организует дочернюю </a:t>
              </a: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Helvetica Light"/>
                </a:rPr>
                <a:t>проектную компанию</a:t>
              </a: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 </a:t>
              </a:r>
              <a:b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</a:b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(</a:t>
              </a:r>
              <a:r>
                <a:rPr lang="en-US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SPV</a:t>
              </a: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)</a:t>
              </a:r>
              <a:r>
                <a:rPr lang="en-US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 </a:t>
              </a: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в каждом регионе проекта</a:t>
              </a:r>
            </a:p>
            <a:p>
              <a:pPr marL="268288" indent="-182563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Размещает средства на реализацию проекта</a:t>
              </a:r>
            </a:p>
          </p:txBody>
        </p:sp>
        <p:sp>
          <p:nvSpPr>
            <p:cNvPr id="113" name="Прямоугольник 112"/>
            <p:cNvSpPr/>
            <p:nvPr/>
          </p:nvSpPr>
          <p:spPr>
            <a:xfrm>
              <a:off x="323528" y="1283790"/>
              <a:ext cx="1944216" cy="540000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12700" cap="flat">
              <a:solidFill>
                <a:schemeClr val="bg2">
                  <a:lumMod val="50000"/>
                </a:schemeClr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ru-RU" sz="1400" b="1" dirty="0" smtClean="0">
                  <a:solidFill>
                    <a:srgbClr val="FFFFFF"/>
                  </a:solidFill>
                  <a:ea typeface="Tahoma" panose="020B0604030504040204" pitchFamily="34" charset="0"/>
                  <a:cs typeface="Tahoma" panose="020B0604030504040204" pitchFamily="34" charset="0"/>
                  <a:sym typeface="Helvetica Light"/>
                </a:rPr>
                <a:t>Внешний</a:t>
              </a:r>
              <a:br>
                <a:rPr lang="ru-RU" sz="1400" b="1" dirty="0" smtClean="0">
                  <a:solidFill>
                    <a:srgbClr val="FFFFFF"/>
                  </a:solidFill>
                  <a:ea typeface="Tahoma" panose="020B0604030504040204" pitchFamily="34" charset="0"/>
                  <a:cs typeface="Tahoma" panose="020B0604030504040204" pitchFamily="34" charset="0"/>
                  <a:sym typeface="Helvetica Light"/>
                </a:rPr>
              </a:br>
              <a:r>
                <a:rPr lang="ru-RU" sz="1400" b="1" dirty="0" smtClean="0">
                  <a:solidFill>
                    <a:srgbClr val="FFFFFF"/>
                  </a:solidFill>
                  <a:ea typeface="Tahoma" panose="020B0604030504040204" pitchFamily="34" charset="0"/>
                  <a:cs typeface="Tahoma" panose="020B0604030504040204" pitchFamily="34" charset="0"/>
                  <a:sym typeface="Helvetica Light"/>
                </a:rPr>
                <a:t>инвестор</a:t>
              </a: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6874783" y="1283789"/>
            <a:ext cx="1945689" cy="2254866"/>
            <a:chOff x="6790700" y="1262815"/>
            <a:chExt cx="1945689" cy="2254866"/>
          </a:xfrm>
        </p:grpSpPr>
        <p:sp>
          <p:nvSpPr>
            <p:cNvPr id="62" name="Прямоугольник 61"/>
            <p:cNvSpPr/>
            <p:nvPr/>
          </p:nvSpPr>
          <p:spPr>
            <a:xfrm>
              <a:off x="6790700" y="1836580"/>
              <a:ext cx="1944000" cy="1681101"/>
            </a:xfrm>
            <a:prstGeom prst="rect">
              <a:avLst/>
            </a:prstGeom>
            <a:noFill/>
            <a:ln w="12700" cap="flat">
              <a:solidFill>
                <a:schemeClr val="bg2">
                  <a:lumMod val="50000"/>
                </a:schemeClr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t">
              <a:noAutofit/>
            </a:bodyPr>
            <a:lstStyle/>
            <a:p>
              <a:pPr marL="268288" indent="-182563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Принимает </a:t>
              </a: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ИТП </a:t>
              </a: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/>
              </a:r>
              <a:b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</a:b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в </a:t>
              </a: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общедомовую </a:t>
              </a: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собственность</a:t>
              </a:r>
            </a:p>
            <a:p>
              <a:pPr marL="268288" indent="-182563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 Эксплуатирует </a:t>
              </a: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ИТП</a:t>
              </a: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6792389" y="1262815"/>
              <a:ext cx="1944000" cy="573766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12700" cap="flat">
              <a:solidFill>
                <a:schemeClr val="bg2">
                  <a:lumMod val="50000"/>
                </a:schemeClr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ru-RU" sz="1400" b="1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ea typeface="Tahoma" panose="020B0604030504040204" pitchFamily="34" charset="0"/>
                  <a:cs typeface="Tahoma" panose="020B0604030504040204" pitchFamily="34" charset="0"/>
                  <a:sym typeface="Helvetica Light"/>
                </a:rPr>
                <a:t>Многоквартирный </a:t>
              </a:r>
              <a:br>
                <a:rPr kumimoji="0" lang="ru-RU" sz="1400" b="1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ea typeface="Tahoma" panose="020B0604030504040204" pitchFamily="34" charset="0"/>
                  <a:cs typeface="Tahoma" panose="020B0604030504040204" pitchFamily="34" charset="0"/>
                  <a:sym typeface="Helvetica Light"/>
                </a:rPr>
              </a:br>
              <a:r>
                <a:rPr kumimoji="0" lang="ru-RU" sz="1400" b="1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ea typeface="Tahoma" panose="020B0604030504040204" pitchFamily="34" charset="0"/>
                  <a:cs typeface="Tahoma" panose="020B0604030504040204" pitchFamily="34" charset="0"/>
                  <a:sym typeface="Helvetica Light"/>
                </a:rPr>
                <a:t>дом (МКД)</a:t>
              </a:r>
            </a:p>
          </p:txBody>
        </p:sp>
      </p:grpSp>
      <p:cxnSp>
        <p:nvCxnSpPr>
          <p:cNvPr id="55" name="Прямая со стрелкой 54"/>
          <p:cNvCxnSpPr/>
          <p:nvPr/>
        </p:nvCxnSpPr>
        <p:spPr>
          <a:xfrm>
            <a:off x="4570527" y="3509131"/>
            <a:ext cx="0" cy="495933"/>
          </a:xfrm>
          <a:prstGeom prst="straightConnector1">
            <a:avLst/>
          </a:prstGeom>
          <a:noFill/>
          <a:ln w="57150" cap="flat">
            <a:solidFill>
              <a:srgbClr val="C00000"/>
            </a:solidFill>
            <a:prstDash val="solid"/>
            <a:miter lim="400000"/>
            <a:headEnd type="triangle" w="med" len="med"/>
            <a:tailEnd type="none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64" name="Группа 63"/>
          <p:cNvGrpSpPr/>
          <p:nvPr/>
        </p:nvGrpSpPr>
        <p:grpSpPr>
          <a:xfrm>
            <a:off x="6874783" y="4086170"/>
            <a:ext cx="1945689" cy="2583190"/>
            <a:chOff x="6790700" y="1199905"/>
            <a:chExt cx="1945689" cy="2583190"/>
          </a:xfrm>
        </p:grpSpPr>
        <p:sp>
          <p:nvSpPr>
            <p:cNvPr id="66" name="Прямоугольник 65"/>
            <p:cNvSpPr/>
            <p:nvPr/>
          </p:nvSpPr>
          <p:spPr>
            <a:xfrm>
              <a:off x="6790700" y="1836580"/>
              <a:ext cx="1944000" cy="1946515"/>
            </a:xfrm>
            <a:prstGeom prst="rect">
              <a:avLst/>
            </a:prstGeom>
            <a:noFill/>
            <a:ln w="12700" cap="flat">
              <a:solidFill>
                <a:schemeClr val="bg2">
                  <a:lumMod val="50000"/>
                </a:schemeClr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t">
              <a:noAutofit/>
            </a:bodyPr>
            <a:lstStyle/>
            <a:p>
              <a:pPr marL="268288" indent="-180975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Формирует техническую политику по ИТП.</a:t>
              </a:r>
            </a:p>
            <a:p>
              <a:pPr marL="268288" indent="-180975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Несет функции технического заказчика</a:t>
              </a:r>
            </a:p>
            <a:p>
              <a:pPr marL="268288" indent="-180975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Производит перекладку сетей (в случае необходимости)</a:t>
              </a:r>
            </a:p>
            <a:p>
              <a:pPr marL="268288" indent="-180975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Обслуживает ИТП на всем сроке эксплуатации ИТП</a:t>
              </a:r>
            </a:p>
          </p:txBody>
        </p:sp>
        <p:sp>
          <p:nvSpPr>
            <p:cNvPr id="67" name="Прямоугольник 66"/>
            <p:cNvSpPr/>
            <p:nvPr/>
          </p:nvSpPr>
          <p:spPr>
            <a:xfrm>
              <a:off x="6792389" y="1199905"/>
              <a:ext cx="1944000" cy="648000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12700" cap="flat">
              <a:solidFill>
                <a:schemeClr val="bg2">
                  <a:lumMod val="50000"/>
                </a:schemeClr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ru-RU" sz="1400" b="1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ea typeface="Tahoma" panose="020B0604030504040204" pitchFamily="34" charset="0"/>
                  <a:cs typeface="Tahoma" panose="020B0604030504040204" pitchFamily="34" charset="0"/>
                  <a:sym typeface="Helvetica Light"/>
                </a:rPr>
                <a:t>ПАО «Т</a:t>
              </a:r>
              <a:r>
                <a:rPr kumimoji="0" lang="ru-RU" sz="1400" b="1" i="0" u="none" strike="noStrike" cap="none" spc="0" normalizeH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ea typeface="Tahoma" panose="020B0604030504040204" pitchFamily="34" charset="0"/>
                  <a:cs typeface="Tahoma" panose="020B0604030504040204" pitchFamily="34" charset="0"/>
                  <a:sym typeface="Helvetica Light"/>
                </a:rPr>
                <a:t> Плюс»</a:t>
              </a:r>
              <a:endParaRPr kumimoji="0" lang="ru-RU" sz="1400" b="1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ea typeface="Tahoma" panose="020B0604030504040204" pitchFamily="34" charset="0"/>
                <a:cs typeface="Tahoma" panose="020B0604030504040204" pitchFamily="34" charset="0"/>
                <a:sym typeface="Helvetica Light"/>
              </a:endParaRPr>
            </a:p>
          </p:txBody>
        </p:sp>
      </p:grpSp>
      <p:grpSp>
        <p:nvGrpSpPr>
          <p:cNvPr id="77" name="Группа 76"/>
          <p:cNvGrpSpPr/>
          <p:nvPr/>
        </p:nvGrpSpPr>
        <p:grpSpPr>
          <a:xfrm>
            <a:off x="3632950" y="4077072"/>
            <a:ext cx="1945689" cy="2592288"/>
            <a:chOff x="6790700" y="1190807"/>
            <a:chExt cx="1945689" cy="2592288"/>
          </a:xfrm>
        </p:grpSpPr>
        <p:sp>
          <p:nvSpPr>
            <p:cNvPr id="79" name="Прямоугольник 78"/>
            <p:cNvSpPr/>
            <p:nvPr/>
          </p:nvSpPr>
          <p:spPr>
            <a:xfrm>
              <a:off x="6790700" y="1836580"/>
              <a:ext cx="1944000" cy="1946515"/>
            </a:xfrm>
            <a:prstGeom prst="rect">
              <a:avLst/>
            </a:prstGeom>
            <a:noFill/>
            <a:ln w="12700" cap="flat">
              <a:solidFill>
                <a:schemeClr val="bg2">
                  <a:lumMod val="50000"/>
                </a:schemeClr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t">
              <a:noAutofit/>
            </a:bodyPr>
            <a:lstStyle/>
            <a:p>
              <a:pPr marL="266700" indent="-171450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Проводит конкурсы </a:t>
              </a: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/>
              </a:r>
              <a:b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</a:b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на </a:t>
              </a: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проектирование </a:t>
              </a: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и </a:t>
              </a: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установку ИТП </a:t>
              </a: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/>
              </a:r>
              <a:b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</a:b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в </a:t>
              </a: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соответствии </a:t>
              </a: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/>
              </a:r>
              <a:b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</a:b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с </a:t>
              </a: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техническим заданием </a:t>
              </a: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/>
              </a:r>
              <a:b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</a:b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и </a:t>
              </a: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откорректированной программой</a:t>
              </a:r>
            </a:p>
            <a:p>
              <a:pPr marL="266700" indent="-171450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Принимает ИТП </a:t>
              </a: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и </a:t>
              </a:r>
              <a:b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</a:b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передает в </a:t>
              </a: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общедомовую собственность.</a:t>
              </a:r>
            </a:p>
          </p:txBody>
        </p:sp>
        <p:sp>
          <p:nvSpPr>
            <p:cNvPr id="80" name="Прямоугольник 79"/>
            <p:cNvSpPr/>
            <p:nvPr/>
          </p:nvSpPr>
          <p:spPr>
            <a:xfrm>
              <a:off x="6792389" y="1190807"/>
              <a:ext cx="1944000" cy="648000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12700" cap="flat">
              <a:solidFill>
                <a:schemeClr val="bg2">
                  <a:lumMod val="50000"/>
                </a:schemeClr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algn="ctr" defTabSz="584200" latinLnBrk="1" hangingPunct="0"/>
              <a:r>
                <a:rPr lang="ru-RU" sz="1400" b="1" dirty="0">
                  <a:solidFill>
                    <a:srgbClr val="FFFFFF"/>
                  </a:solidFill>
                  <a:ea typeface="Helvetica Light"/>
                  <a:cs typeface="Helvetica Light"/>
                  <a:sym typeface="Helvetica Light"/>
                </a:rPr>
                <a:t>Региональный </a:t>
              </a:r>
            </a:p>
            <a:p>
              <a:pPr algn="ctr" defTabSz="584200" latinLnBrk="1" hangingPunct="0"/>
              <a:r>
                <a:rPr lang="ru-RU" sz="1400" b="1" dirty="0">
                  <a:solidFill>
                    <a:srgbClr val="FFFFFF"/>
                  </a:solidFill>
                  <a:ea typeface="Helvetica Light"/>
                  <a:cs typeface="Helvetica Light"/>
                  <a:sym typeface="Helvetica Light"/>
                </a:rPr>
                <a:t>фонд капитального </a:t>
              </a:r>
              <a:r>
                <a:rPr lang="ru-RU" sz="1400" b="1" dirty="0" smtClean="0">
                  <a:solidFill>
                    <a:srgbClr val="FFFFFF"/>
                  </a:solidFill>
                  <a:ea typeface="Helvetica Light"/>
                  <a:cs typeface="Helvetica Light"/>
                  <a:sym typeface="Helvetica Light"/>
                </a:rPr>
                <a:t>ремонта (ФКР)</a:t>
              </a:r>
              <a:endParaRPr kumimoji="0" lang="ru-RU" sz="1400" b="1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ea typeface="Tahoma" panose="020B0604030504040204" pitchFamily="34" charset="0"/>
                <a:cs typeface="Tahoma" panose="020B0604030504040204" pitchFamily="34" charset="0"/>
                <a:sym typeface="Helvetica Light"/>
              </a:endParaRPr>
            </a:p>
          </p:txBody>
        </p:sp>
      </p:grpSp>
      <p:cxnSp>
        <p:nvCxnSpPr>
          <p:cNvPr id="83" name="Прямая со стрелкой 82"/>
          <p:cNvCxnSpPr/>
          <p:nvPr/>
        </p:nvCxnSpPr>
        <p:spPr>
          <a:xfrm flipH="1">
            <a:off x="2410287" y="5301208"/>
            <a:ext cx="1152128" cy="0"/>
          </a:xfrm>
          <a:prstGeom prst="straightConnector1">
            <a:avLst/>
          </a:prstGeom>
          <a:noFill/>
          <a:ln w="57150" cap="flat">
            <a:solidFill>
              <a:srgbClr val="C00000"/>
            </a:solidFill>
            <a:prstDash val="solid"/>
            <a:miter lim="400000"/>
            <a:headEnd type="triangle" w="med" len="med"/>
            <a:tailEnd type="none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84" name="Группа 83"/>
          <p:cNvGrpSpPr/>
          <p:nvPr/>
        </p:nvGrpSpPr>
        <p:grpSpPr>
          <a:xfrm>
            <a:off x="395536" y="4077072"/>
            <a:ext cx="1945689" cy="2592288"/>
            <a:chOff x="6790700" y="1190807"/>
            <a:chExt cx="1945689" cy="2448272"/>
          </a:xfrm>
        </p:grpSpPr>
        <p:sp>
          <p:nvSpPr>
            <p:cNvPr id="86" name="Прямоугольник 85"/>
            <p:cNvSpPr/>
            <p:nvPr/>
          </p:nvSpPr>
          <p:spPr>
            <a:xfrm>
              <a:off x="6790700" y="1836580"/>
              <a:ext cx="1944000" cy="1802499"/>
            </a:xfrm>
            <a:prstGeom prst="rect">
              <a:avLst/>
            </a:prstGeom>
            <a:noFill/>
            <a:ln w="12700" cap="flat">
              <a:solidFill>
                <a:schemeClr val="bg2">
                  <a:lumMod val="50000"/>
                </a:schemeClr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t">
              <a:noAutofit/>
            </a:bodyPr>
            <a:lstStyle/>
            <a:p>
              <a:pPr marL="266700" indent="-171450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Проводит </a:t>
              </a: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корректировку нормативных правовых актов:</a:t>
              </a:r>
            </a:p>
            <a:p>
              <a:pPr marL="539750" lvl="1" indent="-176213">
                <a:spcBef>
                  <a:spcPts val="600"/>
                </a:spcBef>
                <a:buFont typeface="Wingdings" panose="05000000000000000000" pitchFamily="2" charset="2"/>
                <a:buChar char="ü"/>
              </a:pP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включает ИТП </a:t>
              </a:r>
              <a:b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</a:b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в программу  капремонта</a:t>
              </a:r>
            </a:p>
            <a:p>
              <a:pPr marL="539750" lvl="1" indent="-176213">
                <a:spcBef>
                  <a:spcPts val="600"/>
                </a:spcBef>
                <a:buFont typeface="Wingdings" panose="05000000000000000000" pitchFamily="2" charset="2"/>
                <a:buChar char="ü"/>
              </a:pP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пересматривает предельную </a:t>
              </a: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стоимость работ </a:t>
              </a: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/>
              </a:r>
              <a:b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ru-RU" sz="1000" dirty="0" smtClean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по </a:t>
              </a:r>
              <a:r>
                <a:rPr lang="ru-RU" sz="1000" dirty="0">
                  <a:solidFill>
                    <a:schemeClr val="bg2">
                      <a:lumMod val="50000"/>
                    </a:schemeClr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капремонту </a:t>
              </a:r>
              <a:endParaRPr lang="ru-RU" sz="1000" dirty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  <a:p>
              <a:pPr marL="539750" lvl="1" indent="-176213">
                <a:spcBef>
                  <a:spcPts val="600"/>
                </a:spcBef>
                <a:buFont typeface="Wingdings" panose="05000000000000000000" pitchFamily="2" charset="2"/>
                <a:buChar char="ü"/>
              </a:pPr>
              <a:endParaRPr lang="ru-RU" sz="1000" dirty="0">
                <a:solidFill>
                  <a:schemeClr val="bg2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  <p:sp>
          <p:nvSpPr>
            <p:cNvPr id="87" name="Прямоугольник 86"/>
            <p:cNvSpPr/>
            <p:nvPr/>
          </p:nvSpPr>
          <p:spPr>
            <a:xfrm>
              <a:off x="6792389" y="1190807"/>
              <a:ext cx="1944000" cy="648000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 w="12700" cap="flat">
              <a:solidFill>
                <a:schemeClr val="bg2">
                  <a:lumMod val="50000"/>
                </a:schemeClr>
              </a:solidFill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algn="ctr" defTabSz="584200" latinLnBrk="1" hangingPunct="0"/>
              <a:r>
                <a:rPr lang="ru-RU" sz="1400" b="1" dirty="0">
                  <a:solidFill>
                    <a:srgbClr val="FFFFFF"/>
                  </a:solidFill>
                  <a:ea typeface="Helvetica Light"/>
                  <a:cs typeface="Helvetica Light"/>
                  <a:sym typeface="Helvetica Light"/>
                </a:rPr>
                <a:t>Правительство </a:t>
              </a:r>
            </a:p>
            <a:p>
              <a:pPr algn="ctr" defTabSz="584200" latinLnBrk="1" hangingPunct="0"/>
              <a:r>
                <a:rPr lang="ru-RU" sz="1400" b="1" dirty="0" smtClean="0">
                  <a:solidFill>
                    <a:srgbClr val="FFFFFF"/>
                  </a:solidFill>
                  <a:ea typeface="Helvetica Light"/>
                  <a:cs typeface="Helvetica Light"/>
                  <a:sym typeface="Helvetica Light"/>
                </a:rPr>
                <a:t>региона</a:t>
              </a:r>
              <a:endParaRPr kumimoji="0" lang="ru-RU" sz="1400" b="1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ea typeface="Tahoma" panose="020B0604030504040204" pitchFamily="34" charset="0"/>
                <a:cs typeface="Tahoma" panose="020B0604030504040204" pitchFamily="34" charset="0"/>
                <a:sym typeface="Helvetica Light"/>
              </a:endParaRPr>
            </a:p>
          </p:txBody>
        </p:sp>
      </p:grpSp>
      <p:cxnSp>
        <p:nvCxnSpPr>
          <p:cNvPr id="89" name="Прямая со стрелкой 88"/>
          <p:cNvCxnSpPr/>
          <p:nvPr/>
        </p:nvCxnSpPr>
        <p:spPr>
          <a:xfrm flipH="1">
            <a:off x="5650647" y="2348880"/>
            <a:ext cx="1152128" cy="0"/>
          </a:xfrm>
          <a:prstGeom prst="straightConnector1">
            <a:avLst/>
          </a:prstGeom>
          <a:noFill/>
          <a:ln w="57150" cap="flat">
            <a:solidFill>
              <a:srgbClr val="C00000"/>
            </a:solidFill>
            <a:prstDash val="solid"/>
            <a:miter lim="400000"/>
            <a:headEnd type="triangle" w="med" len="med"/>
            <a:tailEnd type="none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90" name="Прямая со стрелкой 89"/>
          <p:cNvCxnSpPr/>
          <p:nvPr/>
        </p:nvCxnSpPr>
        <p:spPr>
          <a:xfrm>
            <a:off x="5650647" y="5301208"/>
            <a:ext cx="1152128" cy="0"/>
          </a:xfrm>
          <a:prstGeom prst="straightConnector1">
            <a:avLst/>
          </a:prstGeom>
          <a:noFill/>
          <a:ln w="57150" cap="flat">
            <a:solidFill>
              <a:srgbClr val="C00000"/>
            </a:solidFill>
            <a:prstDash val="solid"/>
            <a:miter lim="400000"/>
            <a:headEnd type="triangle" w="med" len="med"/>
            <a:tailEnd type="none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95" name="Прямая со стрелкой 94"/>
          <p:cNvCxnSpPr/>
          <p:nvPr/>
        </p:nvCxnSpPr>
        <p:spPr>
          <a:xfrm>
            <a:off x="7812360" y="3547668"/>
            <a:ext cx="0" cy="495933"/>
          </a:xfrm>
          <a:prstGeom prst="straightConnector1">
            <a:avLst/>
          </a:prstGeom>
          <a:noFill/>
          <a:ln w="57150" cap="flat">
            <a:solidFill>
              <a:srgbClr val="C00000"/>
            </a:solidFill>
            <a:prstDash val="solid"/>
            <a:miter lim="400000"/>
            <a:headEnd type="triangle" w="med" len="med"/>
            <a:tailEnd type="none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1" name="Номер слайда 81"/>
          <p:cNvSpPr txBox="1">
            <a:spLocks/>
          </p:cNvSpPr>
          <p:nvPr/>
        </p:nvSpPr>
        <p:spPr>
          <a:xfrm>
            <a:off x="8521189" y="6416207"/>
            <a:ext cx="446873" cy="200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18000" anchor="b" anchorCtr="0">
            <a:normAutofit fontScale="55000" lnSpcReduction="20000"/>
          </a:bodyPr>
          <a:lstStyle>
            <a:lvl1pPr defTabSz="410751">
              <a:spcBef>
                <a:spcPts val="0"/>
              </a:spcBef>
              <a:defRPr sz="2500" b="1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1pPr>
            <a:lvl2pPr indent="160729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2pPr>
            <a:lvl3pPr indent="321457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3pPr>
            <a:lvl4pPr indent="482186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4pPr>
            <a:lvl5pPr indent="642915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5pPr>
            <a:lvl6pPr indent="803643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indent="964372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indent="1125101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indent="1285829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r">
              <a:defRPr/>
            </a:pPr>
            <a:fld id="{185710F0-95CE-41ED-9A90-13AF48BDBFF5}" type="slidenum">
              <a:rPr lang="ru-RU" b="0" kern="0" smtClean="0"/>
              <a:pPr algn="r">
                <a:defRPr/>
              </a:pPr>
              <a:t>7</a:t>
            </a:fld>
            <a:endParaRPr lang="ru-RU" b="0" kern="0" dirty="0"/>
          </a:p>
        </p:txBody>
      </p:sp>
    </p:spTree>
    <p:extLst>
      <p:ext uri="{BB962C8B-B14F-4D97-AF65-F5344CB8AC3E}">
        <p14:creationId xmlns:p14="http://schemas.microsoft.com/office/powerpoint/2010/main" val="1188067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1797322" y="249332"/>
            <a:ext cx="6718998" cy="731396"/>
          </a:xfrm>
        </p:spPr>
        <p:txBody>
          <a:bodyPr>
            <a:noAutofit/>
          </a:bodyPr>
          <a:lstStyle/>
          <a:p>
            <a:pPr algn="l"/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</a:rPr>
              <a:t>Алгоритм реализации проекта</a:t>
            </a:r>
            <a:endParaRPr lang="ru-RU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57" name="Номер слайда 81"/>
          <p:cNvSpPr txBox="1">
            <a:spLocks/>
          </p:cNvSpPr>
          <p:nvPr/>
        </p:nvSpPr>
        <p:spPr>
          <a:xfrm>
            <a:off x="8517615" y="6453336"/>
            <a:ext cx="446873" cy="200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18000" anchor="b" anchorCtr="0">
            <a:normAutofit fontScale="55000" lnSpcReduction="20000"/>
          </a:bodyPr>
          <a:lstStyle>
            <a:lvl1pPr defTabSz="410751">
              <a:spcBef>
                <a:spcPts val="0"/>
              </a:spcBef>
              <a:defRPr sz="2500" b="1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1pPr>
            <a:lvl2pPr indent="160729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2pPr>
            <a:lvl3pPr indent="321457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3pPr>
            <a:lvl4pPr indent="482186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4pPr>
            <a:lvl5pPr indent="642915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5pPr>
            <a:lvl6pPr indent="803643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indent="964372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indent="1125101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indent="1285829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r">
              <a:defRPr/>
            </a:pPr>
            <a:fld id="{185710F0-95CE-41ED-9A90-13AF48BDBFF5}" type="slidenum">
              <a:rPr lang="ru-RU" b="0" kern="0" smtClean="0"/>
              <a:pPr algn="r">
                <a:defRPr/>
              </a:pPr>
              <a:t>8</a:t>
            </a:fld>
            <a:endParaRPr lang="ru-RU" b="0" kern="0" dirty="0"/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611560" y="5995407"/>
            <a:ext cx="6408712" cy="38592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ерекладка сетей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теплоснабжения и ХВС (при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необходимости)</a:t>
            </a:r>
            <a:endParaRPr lang="ru-RU" sz="3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8" name="Полилиния 67"/>
          <p:cNvSpPr/>
          <p:nvPr/>
        </p:nvSpPr>
        <p:spPr>
          <a:xfrm>
            <a:off x="6377186" y="1709248"/>
            <a:ext cx="909638" cy="509587"/>
          </a:xfrm>
          <a:custGeom>
            <a:avLst/>
            <a:gdLst>
              <a:gd name="connsiteX0" fmla="*/ 645319 w 909638"/>
              <a:gd name="connsiteY0" fmla="*/ 0 h 509587"/>
              <a:gd name="connsiteX1" fmla="*/ 909638 w 909638"/>
              <a:gd name="connsiteY1" fmla="*/ 4762 h 509587"/>
              <a:gd name="connsiteX2" fmla="*/ 907256 w 909638"/>
              <a:gd name="connsiteY2" fmla="*/ 335756 h 509587"/>
              <a:gd name="connsiteX3" fmla="*/ 0 w 909638"/>
              <a:gd name="connsiteY3" fmla="*/ 338137 h 509587"/>
              <a:gd name="connsiteX4" fmla="*/ 2381 w 909638"/>
              <a:gd name="connsiteY4" fmla="*/ 509587 h 509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9638" h="509587">
                <a:moveTo>
                  <a:pt x="645319" y="0"/>
                </a:moveTo>
                <a:lnTo>
                  <a:pt x="909638" y="4762"/>
                </a:lnTo>
                <a:lnTo>
                  <a:pt x="907256" y="335756"/>
                </a:lnTo>
                <a:lnTo>
                  <a:pt x="0" y="338137"/>
                </a:lnTo>
                <a:cubicBezTo>
                  <a:pt x="794" y="395287"/>
                  <a:pt x="1587" y="452437"/>
                  <a:pt x="2381" y="509587"/>
                </a:cubicBezTo>
              </a:path>
            </a:pathLst>
          </a:custGeom>
          <a:noFill/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cxnSp>
        <p:nvCxnSpPr>
          <p:cNvPr id="126" name="Соединительная линия уступом 125"/>
          <p:cNvCxnSpPr/>
          <p:nvPr/>
        </p:nvCxnSpPr>
        <p:spPr>
          <a:xfrm flipH="1">
            <a:off x="5796136" y="1609890"/>
            <a:ext cx="360040" cy="500913"/>
          </a:xfrm>
          <a:prstGeom prst="bentConnector4">
            <a:avLst>
              <a:gd name="adj1" fmla="val -286160"/>
              <a:gd name="adj2" fmla="val 55607"/>
            </a:avLst>
          </a:prstGeom>
          <a:noFill/>
          <a:ln w="19050" cap="flat">
            <a:solidFill>
              <a:srgbClr val="F15427"/>
            </a:solidFill>
            <a:prstDash val="solid"/>
            <a:miter lim="400000"/>
            <a:tailEnd type="arrow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3" name="Скругленный прямоугольник 122"/>
          <p:cNvSpPr/>
          <p:nvPr/>
        </p:nvSpPr>
        <p:spPr>
          <a:xfrm>
            <a:off x="611560" y="1439994"/>
            <a:ext cx="6408712" cy="38592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584200" latinLnBrk="1" hangingPunct="0"/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Определение объемов, параметров и сроков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оекта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sym typeface="Arial"/>
            </a:endParaRPr>
          </a:p>
        </p:txBody>
      </p:sp>
      <p:cxnSp>
        <p:nvCxnSpPr>
          <p:cNvPr id="158" name="Соединительная линия уступом 157"/>
          <p:cNvCxnSpPr/>
          <p:nvPr/>
        </p:nvCxnSpPr>
        <p:spPr>
          <a:xfrm flipH="1">
            <a:off x="5796136" y="2257962"/>
            <a:ext cx="360040" cy="500913"/>
          </a:xfrm>
          <a:prstGeom prst="bentConnector4">
            <a:avLst>
              <a:gd name="adj1" fmla="val -407240"/>
              <a:gd name="adj2" fmla="val 55607"/>
            </a:avLst>
          </a:prstGeom>
          <a:noFill/>
          <a:ln w="19050" cap="flat">
            <a:solidFill>
              <a:srgbClr val="F15427"/>
            </a:solidFill>
            <a:prstDash val="solid"/>
            <a:miter lim="400000"/>
            <a:tailEnd type="arrow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3" name="Скругленный прямоугольник 82"/>
          <p:cNvSpPr/>
          <p:nvPr/>
        </p:nvSpPr>
        <p:spPr>
          <a:xfrm>
            <a:off x="611560" y="2088026"/>
            <a:ext cx="6840760" cy="38592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Заключение соглашения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 реализации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оекта ИТП</a:t>
            </a:r>
          </a:p>
        </p:txBody>
      </p:sp>
      <p:cxnSp>
        <p:nvCxnSpPr>
          <p:cNvPr id="160" name="Соединительная линия уступом 159"/>
          <p:cNvCxnSpPr/>
          <p:nvPr/>
        </p:nvCxnSpPr>
        <p:spPr>
          <a:xfrm flipH="1">
            <a:off x="5796136" y="2928087"/>
            <a:ext cx="360040" cy="500913"/>
          </a:xfrm>
          <a:prstGeom prst="bentConnector4">
            <a:avLst>
              <a:gd name="adj1" fmla="val -496901"/>
              <a:gd name="adj2" fmla="val 55607"/>
            </a:avLst>
          </a:prstGeom>
          <a:noFill/>
          <a:ln w="19050" cap="flat">
            <a:solidFill>
              <a:srgbClr val="F15427"/>
            </a:solidFill>
            <a:prstDash val="solid"/>
            <a:miter lim="400000"/>
            <a:tailEnd type="arrow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4" name="Скругленный прямоугольник 53"/>
          <p:cNvSpPr/>
          <p:nvPr/>
        </p:nvSpPr>
        <p:spPr>
          <a:xfrm>
            <a:off x="611560" y="2755047"/>
            <a:ext cx="7200800" cy="38592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орректировка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егиональных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НПА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и необходимости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62" name="Соединительная линия уступом 161"/>
          <p:cNvCxnSpPr/>
          <p:nvPr/>
        </p:nvCxnSpPr>
        <p:spPr>
          <a:xfrm flipH="1">
            <a:off x="5796136" y="3576159"/>
            <a:ext cx="360040" cy="500913"/>
          </a:xfrm>
          <a:prstGeom prst="bentConnector4">
            <a:avLst>
              <a:gd name="adj1" fmla="val -596815"/>
              <a:gd name="adj2" fmla="val 55607"/>
            </a:avLst>
          </a:prstGeom>
          <a:noFill/>
          <a:ln w="19050" cap="flat">
            <a:solidFill>
              <a:srgbClr val="F15427"/>
            </a:solidFill>
            <a:prstDash val="solid"/>
            <a:miter lim="400000"/>
            <a:tailEnd type="arrow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5" name="Скругленный прямоугольник 54"/>
          <p:cNvSpPr/>
          <p:nvPr/>
        </p:nvSpPr>
        <p:spPr>
          <a:xfrm>
            <a:off x="611560" y="3416080"/>
            <a:ext cx="7560840" cy="38592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оведение конкурса на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оектирование ИТП</a:t>
            </a:r>
          </a:p>
        </p:txBody>
      </p:sp>
      <p:cxnSp>
        <p:nvCxnSpPr>
          <p:cNvPr id="164" name="Соединительная линия уступом 163"/>
          <p:cNvCxnSpPr/>
          <p:nvPr/>
        </p:nvCxnSpPr>
        <p:spPr>
          <a:xfrm flipH="1">
            <a:off x="5796136" y="4221088"/>
            <a:ext cx="360040" cy="500913"/>
          </a:xfrm>
          <a:prstGeom prst="bentConnector4">
            <a:avLst>
              <a:gd name="adj1" fmla="val -596242"/>
              <a:gd name="adj2" fmla="val 55607"/>
            </a:avLst>
          </a:prstGeom>
          <a:noFill/>
          <a:ln w="19050" cap="flat">
            <a:solidFill>
              <a:srgbClr val="F15427"/>
            </a:solidFill>
            <a:prstDash val="solid"/>
            <a:miter lim="400000"/>
            <a:tailEnd type="arrow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6" name="Скругленный прямоугольник 55"/>
          <p:cNvSpPr/>
          <p:nvPr/>
        </p:nvSpPr>
        <p:spPr>
          <a:xfrm>
            <a:off x="611560" y="4064152"/>
            <a:ext cx="7560840" cy="38592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бследование МКД</a:t>
            </a:r>
          </a:p>
        </p:txBody>
      </p:sp>
      <p:cxnSp>
        <p:nvCxnSpPr>
          <p:cNvPr id="165" name="Соединительная линия уступом 164"/>
          <p:cNvCxnSpPr/>
          <p:nvPr/>
        </p:nvCxnSpPr>
        <p:spPr>
          <a:xfrm flipH="1">
            <a:off x="5796136" y="4869160"/>
            <a:ext cx="360040" cy="500913"/>
          </a:xfrm>
          <a:prstGeom prst="bentConnector4">
            <a:avLst>
              <a:gd name="adj1" fmla="val -491661"/>
              <a:gd name="adj2" fmla="val 55607"/>
            </a:avLst>
          </a:prstGeom>
          <a:noFill/>
          <a:ln w="19050" cap="flat">
            <a:solidFill>
              <a:srgbClr val="F15427"/>
            </a:solidFill>
            <a:prstDash val="solid"/>
            <a:miter lim="400000"/>
            <a:tailEnd type="arrow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8" name="Скругленный прямоугольник 57"/>
          <p:cNvSpPr/>
          <p:nvPr/>
        </p:nvSpPr>
        <p:spPr>
          <a:xfrm>
            <a:off x="611560" y="4712184"/>
            <a:ext cx="7200800" cy="38592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оведение конкурса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 установку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ИТП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67" name="Соединительная линия уступом 166"/>
          <p:cNvCxnSpPr/>
          <p:nvPr/>
        </p:nvCxnSpPr>
        <p:spPr>
          <a:xfrm flipH="1">
            <a:off x="5796136" y="5517232"/>
            <a:ext cx="360040" cy="500913"/>
          </a:xfrm>
          <a:prstGeom prst="bentConnector4">
            <a:avLst>
              <a:gd name="adj1" fmla="val -392556"/>
              <a:gd name="adj2" fmla="val 55607"/>
            </a:avLst>
          </a:prstGeom>
          <a:noFill/>
          <a:ln w="19050" cap="flat">
            <a:solidFill>
              <a:srgbClr val="F15427"/>
            </a:solidFill>
            <a:prstDash val="solid"/>
            <a:miter lim="400000"/>
            <a:tailEnd type="arrow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9" name="Скругленный прямоугольник 58"/>
          <p:cNvSpPr/>
          <p:nvPr/>
        </p:nvSpPr>
        <p:spPr>
          <a:xfrm>
            <a:off x="611560" y="5347296"/>
            <a:ext cx="6840760" cy="38592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Установка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ИТП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156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6905353"/>
              </p:ext>
            </p:extLst>
          </p:nvPr>
        </p:nvGraphicFramePr>
        <p:xfrm>
          <a:off x="179512" y="1268760"/>
          <a:ext cx="8712968" cy="482453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12168"/>
                <a:gridCol w="288032"/>
                <a:gridCol w="3672408"/>
                <a:gridCol w="1008112"/>
                <a:gridCol w="1298716"/>
                <a:gridCol w="933532"/>
              </a:tblGrid>
              <a:tr h="41366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оказатели </a:t>
                      </a:r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/>
                      </a:r>
                      <a:b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МКД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542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Характеристика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542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Единица измерения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542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Формула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542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Значение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5427"/>
                    </a:solidFill>
                  </a:tcPr>
                </a:tc>
              </a:tr>
              <a:tr h="234411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ТИП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ДОМА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fontAlgn="b"/>
                      <a:r>
                        <a:rPr lang="ru-RU" sz="1200" u="none" strike="noStrike" dirty="0">
                          <a:effectLst/>
                        </a:rPr>
                        <a:t>Этажность дом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Средняя*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60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fontAlgn="b"/>
                      <a:r>
                        <a:rPr lang="ru-RU" sz="1200" u="none" strike="noStrike" dirty="0">
                          <a:effectLst/>
                        </a:rPr>
                        <a:t>Кол-во квартир в МКД, ед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ед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7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742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fontAlgn="b"/>
                      <a:r>
                        <a:rPr lang="ru-RU" sz="1200" u="none" strike="noStrike" dirty="0">
                          <a:effectLst/>
                        </a:rPr>
                        <a:t>Площадь квартиры (средняя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кв.м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0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863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fontAlgn="b"/>
                      <a:r>
                        <a:rPr lang="ru-RU" sz="1200" u="none" strike="noStrike" dirty="0">
                          <a:effectLst/>
                        </a:rPr>
                        <a:t>Площадь помещений (средняя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м. кв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 197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1602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ПЛАТЕЖ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ЗА ТЕПЛО**</a:t>
                      </a:r>
                      <a:endParaRPr lang="ru-RU" sz="1200" b="0" i="0" u="none" strike="noStrike" baseline="3000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fontAlgn="b"/>
                      <a:r>
                        <a:rPr lang="ru-RU" sz="1200" u="none" strike="noStrike" dirty="0" smtClean="0">
                          <a:effectLst/>
                        </a:rPr>
                        <a:t>ВСЕГО (за год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тыс.руб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п.6+п.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 532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60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u="none" strike="noStrike" dirty="0">
                          <a:effectLst/>
                        </a:rPr>
                        <a:t>в т.ч. </a:t>
                      </a:r>
                      <a:r>
                        <a:rPr lang="ru-RU" sz="1200" u="none" strike="noStrike" dirty="0" smtClean="0">
                          <a:effectLst/>
                        </a:rPr>
                        <a:t>отопление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24318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тыс.руб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 426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160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u="none" strike="noStrike" dirty="0">
                          <a:effectLst/>
                        </a:rPr>
                        <a:t>в т.ч. ГВ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24318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тыс.руб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 106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16024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ЭКОНОМИЯ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(от установки ИТП)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fontAlgn="b"/>
                      <a:r>
                        <a:rPr lang="ru-RU" sz="1200" u="none" strike="noStrike" dirty="0" smtClean="0">
                          <a:effectLst/>
                        </a:rPr>
                        <a:t>ВСЕГО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п.11/п.5*10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1%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160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u="none" strike="noStrike" dirty="0">
                          <a:effectLst/>
                        </a:rPr>
                        <a:t>в т.ч. </a:t>
                      </a:r>
                      <a:r>
                        <a:rPr lang="ru-RU" sz="1200" u="none" strike="noStrike" dirty="0" smtClean="0">
                          <a:effectLst/>
                        </a:rPr>
                        <a:t>отопление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24318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4%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803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1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u="none" strike="noStrike" dirty="0">
                          <a:effectLst/>
                        </a:rPr>
                        <a:t>в т.ч. ГВ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24318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%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160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1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fontAlgn="b"/>
                      <a:r>
                        <a:rPr lang="ru-RU" sz="1200" u="none" strike="noStrike" dirty="0" smtClean="0">
                          <a:effectLst/>
                        </a:rPr>
                        <a:t>ИТОГО</a:t>
                      </a:r>
                      <a:r>
                        <a:rPr lang="ru-RU" sz="1200" u="none" strike="noStrike" baseline="0" dirty="0" smtClean="0">
                          <a:effectLst/>
                        </a:rPr>
                        <a:t> в </a:t>
                      </a:r>
                      <a:r>
                        <a:rPr lang="ru-RU" sz="1200" u="none" strike="noStrike" dirty="0" smtClean="0">
                          <a:effectLst/>
                        </a:rPr>
                        <a:t>руб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тыс.руб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п.6*п.9+п.7*п.1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678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8091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ФОНД КАПРЕМОНТА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1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fontAlgn="b"/>
                      <a:r>
                        <a:rPr lang="ru-RU" sz="1200" u="none" strike="noStrike" dirty="0">
                          <a:effectLst/>
                        </a:rPr>
                        <a:t>Взнос в ФКР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руб/кв.м </a:t>
                      </a:r>
                      <a:r>
                        <a:rPr lang="ru-RU" sz="1200" u="none" strike="noStrike" dirty="0" smtClean="0">
                          <a:effectLst/>
                        </a:rPr>
                        <a:t/>
                      </a:r>
                      <a:br>
                        <a:rPr lang="ru-RU" sz="1200" u="none" strike="noStrike" dirty="0" smtClean="0">
                          <a:effectLst/>
                        </a:rPr>
                      </a:br>
                      <a:r>
                        <a:rPr lang="ru-RU" sz="1200" u="none" strike="noStrike" dirty="0" smtClean="0">
                          <a:effectLst/>
                        </a:rPr>
                        <a:t>в </a:t>
                      </a:r>
                      <a:r>
                        <a:rPr lang="ru-RU" sz="1200" u="none" strike="noStrike" dirty="0">
                          <a:effectLst/>
                        </a:rPr>
                        <a:t>ме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-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797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1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fontAlgn="b"/>
                      <a:r>
                        <a:rPr lang="ru-RU" sz="1200" u="none" strike="noStrike" dirty="0">
                          <a:effectLst/>
                        </a:rPr>
                        <a:t>Платеж квартиры в ФКР за год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тыс. руб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п.3*п.1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,2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803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1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fontAlgn="b"/>
                      <a:r>
                        <a:rPr lang="ru-RU" sz="1200" u="none" strike="noStrike" dirty="0">
                          <a:effectLst/>
                        </a:rPr>
                        <a:t>Платеж МКД в ФКР за </a:t>
                      </a:r>
                      <a:r>
                        <a:rPr lang="ru-RU" sz="1200" u="none" strike="noStrike" dirty="0" smtClean="0">
                          <a:effectLst/>
                        </a:rPr>
                        <a:t>год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тыс. руб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п.2*п.1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53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4747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ЭКОНОМИЯ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1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u="none" strike="noStrike" dirty="0">
                          <a:effectLst/>
                        </a:rPr>
                        <a:t>Экономия от установки ИТП </a:t>
                      </a:r>
                      <a:r>
                        <a:rPr lang="ru-RU" sz="1200" u="none" strike="noStrike" dirty="0" smtClean="0">
                          <a:effectLst/>
                        </a:rPr>
                        <a:t>для </a:t>
                      </a:r>
                      <a:r>
                        <a:rPr lang="ru-RU" sz="1200" u="none" strike="noStrike" dirty="0">
                          <a:effectLst/>
                        </a:rPr>
                        <a:t>квартиры </a:t>
                      </a:r>
                      <a:r>
                        <a:rPr lang="ru-RU" sz="1200" u="none" strike="noStrike" dirty="0" smtClean="0">
                          <a:effectLst/>
                        </a:rPr>
                        <a:t>за </a:t>
                      </a:r>
                      <a:r>
                        <a:rPr lang="ru-RU" sz="1200" u="none" strike="noStrike" dirty="0">
                          <a:effectLst/>
                        </a:rPr>
                        <a:t>год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тыс. руб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п.11/п.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,4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0405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1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u="none" strike="noStrike" dirty="0">
                          <a:effectLst/>
                        </a:rPr>
                        <a:t>Превышение экономии от установки ИТП </a:t>
                      </a:r>
                      <a:r>
                        <a:rPr lang="ru-RU" sz="1200" u="none" strike="noStrike" dirty="0" smtClean="0">
                          <a:effectLst/>
                        </a:rPr>
                        <a:t/>
                      </a:r>
                      <a:br>
                        <a:rPr lang="ru-RU" sz="1200" u="none" strike="noStrike" dirty="0" smtClean="0">
                          <a:effectLst/>
                        </a:rPr>
                      </a:br>
                      <a:r>
                        <a:rPr lang="ru-RU" sz="1200" u="none" strike="noStrike" dirty="0" smtClean="0">
                          <a:effectLst/>
                        </a:rPr>
                        <a:t>над </a:t>
                      </a:r>
                      <a:r>
                        <a:rPr lang="ru-RU" sz="1200" u="none" strike="noStrike" dirty="0">
                          <a:effectLst/>
                        </a:rPr>
                        <a:t>платежом </a:t>
                      </a:r>
                      <a:r>
                        <a:rPr lang="ru-RU" sz="1200" u="none" strike="noStrike" dirty="0" smtClean="0">
                          <a:effectLst/>
                        </a:rPr>
                        <a:t>в </a:t>
                      </a:r>
                      <a:r>
                        <a:rPr lang="ru-RU" sz="1200" u="none" strike="noStrike" dirty="0">
                          <a:effectLst/>
                        </a:rPr>
                        <a:t>ФКР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п.15/п.1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71%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907" marR="6907" marT="690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1797322" y="249332"/>
            <a:ext cx="6718998" cy="731396"/>
          </a:xfrm>
        </p:spPr>
        <p:txBody>
          <a:bodyPr>
            <a:noAutofit/>
          </a:bodyPr>
          <a:lstStyle/>
          <a:p>
            <a:pPr algn="l"/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</a:rPr>
              <a:t>Экономия жителя от установки ИТП существенно превышает платеж в ФКР</a:t>
            </a:r>
            <a:endParaRPr lang="ru-RU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06942" y="6125234"/>
            <a:ext cx="846951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/>
              <a:t>* </a:t>
            </a:r>
            <a:r>
              <a:rPr lang="ru-RU" sz="1000" dirty="0"/>
              <a:t> </a:t>
            </a:r>
            <a:r>
              <a:rPr lang="ru-RU" sz="1000" dirty="0" smtClean="0"/>
              <a:t>Усреднение </a:t>
            </a:r>
            <a:r>
              <a:rPr lang="en-US" sz="1000" dirty="0" smtClean="0"/>
              <a:t> </a:t>
            </a:r>
            <a:r>
              <a:rPr lang="ru-RU" sz="1000" dirty="0" smtClean="0"/>
              <a:t>по </a:t>
            </a:r>
            <a:r>
              <a:rPr lang="ru-RU" sz="1000" dirty="0" smtClean="0"/>
              <a:t>домам  2-16 этажей </a:t>
            </a:r>
          </a:p>
          <a:p>
            <a:pPr marL="176213" indent="-176213"/>
            <a:r>
              <a:rPr lang="ru-RU" sz="1000" dirty="0" smtClean="0"/>
              <a:t>** Средние параметры домов проекта «Модернизация системы теплоснабжения Закамского теплового узла в г. Пермь». </a:t>
            </a:r>
            <a:r>
              <a:rPr lang="ru-RU" sz="1000" dirty="0"/>
              <a:t> </a:t>
            </a:r>
            <a:r>
              <a:rPr lang="ru-RU" sz="1000" dirty="0" smtClean="0"/>
              <a:t>Расчет сделан     для тарифа 1750 руб/Гкал</a:t>
            </a:r>
            <a:endParaRPr lang="ru-RU" sz="1000" dirty="0"/>
          </a:p>
        </p:txBody>
      </p:sp>
      <p:sp>
        <p:nvSpPr>
          <p:cNvPr id="12" name="Номер слайда 81"/>
          <p:cNvSpPr txBox="1">
            <a:spLocks/>
          </p:cNvSpPr>
          <p:nvPr/>
        </p:nvSpPr>
        <p:spPr>
          <a:xfrm>
            <a:off x="8521189" y="6416207"/>
            <a:ext cx="446873" cy="200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18000" anchor="b" anchorCtr="0">
            <a:normAutofit fontScale="55000" lnSpcReduction="20000"/>
          </a:bodyPr>
          <a:lstStyle>
            <a:lvl1pPr defTabSz="410751">
              <a:spcBef>
                <a:spcPts val="0"/>
              </a:spcBef>
              <a:defRPr sz="2500" b="1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1pPr>
            <a:lvl2pPr indent="160729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2pPr>
            <a:lvl3pPr indent="321457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3pPr>
            <a:lvl4pPr indent="482186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4pPr>
            <a:lvl5pPr indent="642915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defRPr>
            </a:lvl5pPr>
            <a:lvl6pPr indent="803643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indent="964372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indent="1125101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indent="1285829" defTabSz="410751">
              <a:spcBef>
                <a:spcPts val="2953"/>
              </a:spcBef>
              <a:defRPr sz="2500">
                <a:solidFill>
                  <a:srgbClr val="65737E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r">
              <a:defRPr/>
            </a:pPr>
            <a:fld id="{185710F0-95CE-41ED-9A90-13AF48BDBFF5}" type="slidenum">
              <a:rPr lang="ru-RU" b="0" kern="0" smtClean="0"/>
              <a:pPr algn="r">
                <a:defRPr/>
              </a:pPr>
              <a:t>9</a:t>
            </a:fld>
            <a:endParaRPr lang="ru-RU" b="0" kern="0" dirty="0"/>
          </a:p>
        </p:txBody>
      </p:sp>
      <p:sp>
        <p:nvSpPr>
          <p:cNvPr id="6" name="Овал 5"/>
          <p:cNvSpPr/>
          <p:nvPr/>
        </p:nvSpPr>
        <p:spPr>
          <a:xfrm>
            <a:off x="8100392" y="5733256"/>
            <a:ext cx="648072" cy="288032"/>
          </a:xfrm>
          <a:prstGeom prst="ellipse">
            <a:avLst/>
          </a:prstGeom>
          <a:noFill/>
          <a:ln w="19050" cap="flat">
            <a:solidFill>
              <a:srgbClr val="C0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8100392" y="4077072"/>
            <a:ext cx="648072" cy="288032"/>
          </a:xfrm>
          <a:prstGeom prst="ellipse">
            <a:avLst/>
          </a:prstGeom>
          <a:noFill/>
          <a:ln w="19050" cap="flat">
            <a:solidFill>
              <a:srgbClr val="C0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8100392" y="4941168"/>
            <a:ext cx="648072" cy="288032"/>
          </a:xfrm>
          <a:prstGeom prst="ellipse">
            <a:avLst/>
          </a:prstGeom>
          <a:noFill/>
          <a:ln w="19050" cap="flat">
            <a:solidFill>
              <a:srgbClr val="C00000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851714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RjChefhkCbs7SVeZF56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iAKLZMCkqUntUIGHoA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RjChefhkCbs7SVeZF56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Qk2PjZ602bwR1joq1i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M8XxY2ZkCswv35MmoO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L8Bkr5HEm6OeLs4rIA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xpTm71zUiQKx2WGmA.5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hXRTIN40CVpt08henA6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vxUJ0QuEmWzQv2462L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n8GXc0h02AywdIxI5s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CyNRC6oU6OOjUFPBZ8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Qk2PjZ602bwR1joq1i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lUICItX0qEf_VhueKC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L8Bkr5HEm6OeLs4rIA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xpTm71zUiQKx2WGmA.5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hXRTIN40CVpt08henA6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vxUJ0QuEmWzQv2462L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n8GXc0h02AywdIxI5s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CyNRC6oU6OOjUFPBZ8G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White">
    <a:dk1>
      <a:srgbClr val="000000"/>
    </a:dk1>
    <a:lt1>
      <a:srgbClr val="FFFFFF"/>
    </a:lt1>
    <a:dk2>
      <a:srgbClr val="53585F"/>
    </a:dk2>
    <a:lt2>
      <a:srgbClr val="DCDEE0"/>
    </a:lt2>
    <a:accent1>
      <a:srgbClr val="0365C0"/>
    </a:accent1>
    <a:accent2>
      <a:srgbClr val="00882B"/>
    </a:accent2>
    <a:accent3>
      <a:srgbClr val="DCBD23"/>
    </a:accent3>
    <a:accent4>
      <a:srgbClr val="DE6A10"/>
    </a:accent4>
    <a:accent5>
      <a:srgbClr val="C82506"/>
    </a:accent5>
    <a:accent6>
      <a:srgbClr val="773F9B"/>
    </a:accent6>
    <a:hlink>
      <a:srgbClr val="0000FF"/>
    </a:hlink>
    <a:folHlink>
      <a:srgbClr val="FF00F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06</TotalTime>
  <Words>1217</Words>
  <Application>Microsoft Office PowerPoint</Application>
  <PresentationFormat>Экран (4:3)</PresentationFormat>
  <Paragraphs>421</Paragraphs>
  <Slides>11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2" baseType="lpstr">
      <vt:lpstr>White</vt:lpstr>
      <vt:lpstr>Аспекты перехода к современной системе теплоснабжения на основе индивидуальных  тепловых пунктов с использованием средств  фонда капитального ремонта</vt:lpstr>
      <vt:lpstr>Законодательная база, предписывающая создание эффективной и современной системы теплоснабжения </vt:lpstr>
      <vt:lpstr>Презентация PowerPoint</vt:lpstr>
      <vt:lpstr>Презентация PowerPoint</vt:lpstr>
      <vt:lpstr>Презентация PowerPoint</vt:lpstr>
      <vt:lpstr>Принципиальная схема финансирования  и возврата инвестиций</vt:lpstr>
      <vt:lpstr>Организационная схема</vt:lpstr>
      <vt:lpstr>Алгоритм реализации проекта</vt:lpstr>
      <vt:lpstr>Экономия жителя от установки ИТП существенно превышает платеж в ФКР</vt:lpstr>
      <vt:lpstr>Презентация PowerPoint</vt:lpstr>
      <vt:lpstr>Что необходимо сделать законодательно для масштабной установки ИТП</vt:lpstr>
    </vt:vector>
  </TitlesOfParts>
  <Company>IES-HOLD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дачи рабочей группы</dc:title>
  <dc:creator>Сажинская Ирина Николаевна</dc:creator>
  <cp:lastModifiedBy>user</cp:lastModifiedBy>
  <cp:revision>881</cp:revision>
  <cp:lastPrinted>2016-11-23T10:37:27Z</cp:lastPrinted>
  <dcterms:created xsi:type="dcterms:W3CDTF">2014-03-21T06:48:41Z</dcterms:created>
  <dcterms:modified xsi:type="dcterms:W3CDTF">2016-11-24T05:56:49Z</dcterms:modified>
</cp:coreProperties>
</file>